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customXml/itemProps88.xml" ContentType="application/vnd.openxmlformats-officedocument.customXmlProperties+xml"/>
  <Override PartName="/customXml/itemProps89.xml" ContentType="application/vnd.openxmlformats-officedocument.customXmlProperties+xml"/>
  <Override PartName="/customXml/itemProps90.xml" ContentType="application/vnd.openxmlformats-officedocument.customXmlProperties+xml"/>
  <Override PartName="/customXml/itemProps91.xml" ContentType="application/vnd.openxmlformats-officedocument.customXmlProperties+xml"/>
  <Override PartName="/customXml/itemProps92.xml" ContentType="application/vnd.openxmlformats-officedocument.customXmlProperties+xml"/>
  <Override PartName="/customXml/itemProps93.xml" ContentType="application/vnd.openxmlformats-officedocument.customXmlProperties+xml"/>
  <Override PartName="/customXml/itemProps94.xml" ContentType="application/vnd.openxmlformats-officedocument.customXmlProperties+xml"/>
  <Override PartName="/customXml/itemProps95.xml" ContentType="application/vnd.openxmlformats-officedocument.customXmlProperties+xml"/>
  <Override PartName="/customXml/itemProps96.xml" ContentType="application/vnd.openxmlformats-officedocument.customXmlProperties+xml"/>
  <Override PartName="/customXml/itemProps97.xml" ContentType="application/vnd.openxmlformats-officedocument.customXmlProperties+xml"/>
  <Override PartName="/customXml/itemProps98.xml" ContentType="application/vnd.openxmlformats-officedocument.customXmlProperties+xml"/>
  <Override PartName="/customXml/itemProps99.xml" ContentType="application/vnd.openxmlformats-officedocument.customXmlProperties+xml"/>
  <Override PartName="/customXml/itemProps100.xml" ContentType="application/vnd.openxmlformats-officedocument.customXmlProperties+xml"/>
  <Override PartName="/customXml/itemProps101.xml" ContentType="application/vnd.openxmlformats-officedocument.customXmlProperties+xml"/>
  <Override PartName="/customXml/itemProps102.xml" ContentType="application/vnd.openxmlformats-officedocument.customXmlProperties+xml"/>
  <Override PartName="/customXml/itemProps103.xml" ContentType="application/vnd.openxmlformats-officedocument.customXmlProperties+xml"/>
  <Override PartName="/customXml/itemProps104.xml" ContentType="application/vnd.openxmlformats-officedocument.customXmlProperties+xml"/>
  <Override PartName="/customXml/itemProps105.xml" ContentType="application/vnd.openxmlformats-officedocument.customXmlProperties+xml"/>
  <Override PartName="/customXml/itemProps106.xml" ContentType="application/vnd.openxmlformats-officedocument.customXmlProperties+xml"/>
  <Override PartName="/customXml/itemProps107.xml" ContentType="application/vnd.openxmlformats-officedocument.customXmlProperties+xml"/>
  <Override PartName="/customXml/itemProps108.xml" ContentType="application/vnd.openxmlformats-officedocument.customXmlProperties+xml"/>
  <Override PartName="/customXml/itemProps109.xml" ContentType="application/vnd.openxmlformats-officedocument.customXmlProperties+xml"/>
  <Override PartName="/customXml/itemProps110.xml" ContentType="application/vnd.openxmlformats-officedocument.customXmlProperties+xml"/>
  <Override PartName="/customXml/itemProps11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112"/>
  </p:sldMasterIdLst>
  <p:notesMasterIdLst>
    <p:notesMasterId r:id="rId138"/>
  </p:notesMasterIdLst>
  <p:handoutMasterIdLst>
    <p:handoutMasterId r:id="rId139"/>
  </p:handoutMasterIdLst>
  <p:sldIdLst>
    <p:sldId id="2147470866" r:id="rId113"/>
    <p:sldId id="2147472800" r:id="rId114"/>
    <p:sldId id="2147472733" r:id="rId115"/>
    <p:sldId id="2147472771" r:id="rId116"/>
    <p:sldId id="2147472921" r:id="rId117"/>
    <p:sldId id="2147472902" r:id="rId118"/>
    <p:sldId id="2147472806" r:id="rId119"/>
    <p:sldId id="2147472807" r:id="rId120"/>
    <p:sldId id="2147472808" r:id="rId121"/>
    <p:sldId id="2147472812" r:id="rId122"/>
    <p:sldId id="2147472809" r:id="rId123"/>
    <p:sldId id="2147472811" r:id="rId124"/>
    <p:sldId id="2147472813" r:id="rId125"/>
    <p:sldId id="2147472814" r:id="rId126"/>
    <p:sldId id="2147472815" r:id="rId127"/>
    <p:sldId id="2147472816" r:id="rId128"/>
    <p:sldId id="2147472817" r:id="rId129"/>
    <p:sldId id="2147472818" r:id="rId130"/>
    <p:sldId id="2147472819" r:id="rId131"/>
    <p:sldId id="2147472820" r:id="rId132"/>
    <p:sldId id="2147472929" r:id="rId133"/>
    <p:sldId id="2147472922" r:id="rId134"/>
    <p:sldId id="2147472798" r:id="rId135"/>
    <p:sldId id="4989" r:id="rId136"/>
    <p:sldId id="2147472766" r:id="rId137"/>
  </p:sldIdLst>
  <p:sldSz cx="12192000" cy="6858000"/>
  <p:notesSz cx="6858000" cy="9144000"/>
  <p:custShowLst>
    <p:custShow name="Traditional Partner" id="0">
      <p:sldLst>
        <p:sld r:id="rId113"/>
        <p:sld r:id="rId114"/>
      </p:sldLst>
    </p:custShow>
    <p:custShow name="MP partner - Consumption Based" id="1">
      <p:sldLst>
        <p:sld r:id="rId113"/>
        <p:sld r:id="rId114"/>
      </p:sldLst>
    </p:custShow>
    <p:custShow name="MP partner - Prebilled Based" id="2">
      <p:sldLst>
        <p:sld r:id="rId113"/>
        <p:sld r:id="rId114"/>
      </p:sldLst>
    </p:custShow>
    <p:custShow name="MP partner - Prebilled and Consumption Based" id="3">
      <p:sldLst>
        <p:sld r:id="rId113"/>
        <p:sld r:id="rId114"/>
      </p:sldLst>
    </p:custShow>
  </p:custShowLst>
  <p:defaultTextStyle>
    <a:defPPr>
      <a:defRPr lang="en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4B758AF-3D49-49B7-8D41-A55E64A93ED8}">
          <p14:sldIdLst>
            <p14:sldId id="2147470866"/>
          </p14:sldIdLst>
        </p14:section>
        <p14:section name="Agenda" id="{3E69E807-CB61-4AA7-858A-622399B4AA41}">
          <p14:sldIdLst>
            <p14:sldId id="2147472800"/>
          </p14:sldIdLst>
        </p14:section>
        <p14:section name="Solution Overview" id="{5007818F-9857-4D28-AEDF-6CE3F7B35F29}">
          <p14:sldIdLst>
            <p14:sldId id="2147472733"/>
            <p14:sldId id="2147472771"/>
          </p14:sldIdLst>
        </p14:section>
        <p14:section name="Cloud Backup: Security &amp; Compliance" id="{56F4BEF6-14D2-4C35-800F-BBCB6F3CF3BD}">
          <p14:sldIdLst>
            <p14:sldId id="2147472921"/>
          </p14:sldIdLst>
        </p14:section>
        <p14:section name="Setup through Sk Portal" id="{F8322855-03C5-4D63-8C0B-29043651F791}">
          <p14:sldIdLst>
            <p14:sldId id="2147472902"/>
            <p14:sldId id="2147472806"/>
            <p14:sldId id="2147472807"/>
            <p14:sldId id="2147472808"/>
            <p14:sldId id="2147472812"/>
            <p14:sldId id="2147472809"/>
            <p14:sldId id="2147472811"/>
            <p14:sldId id="2147472813"/>
            <p14:sldId id="2147472814"/>
            <p14:sldId id="2147472815"/>
            <p14:sldId id="2147472816"/>
            <p14:sldId id="2147472817"/>
            <p14:sldId id="2147472818"/>
            <p14:sldId id="2147472819"/>
            <p14:sldId id="2147472820"/>
            <p14:sldId id="2147472929"/>
            <p14:sldId id="2147472922"/>
          </p14:sldIdLst>
        </p14:section>
        <p14:section name="SkyKick Resources" id="{836521DF-C68A-48B4-93BA-5C821F8EAA94}">
          <p14:sldIdLst>
            <p14:sldId id="2147472798"/>
            <p14:sldId id="4989"/>
          </p14:sldIdLst>
        </p14:section>
        <p14:section name="Q &amp; A" id="{869D32B4-3A89-4004-8DE4-8EDC9362E08D}">
          <p14:sldIdLst>
            <p14:sldId id="214747276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898C560-85C7-2D60-0550-EF8F99ABBD42}" name="Varshaa Pallaath" initials="VP" userId="S::Varshaa.Pallaath@skykick.com::e07828a7-78a1-4e26-98f7-7f2e569879b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FFF"/>
    <a:srgbClr val="FF7D7D"/>
    <a:srgbClr val="E7C7D6"/>
    <a:srgbClr val="344563"/>
    <a:srgbClr val="2C34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BECB088-3EA6-4038-9F7D-E73D901E6F74}" v="1" dt="2023-09-05T11:28:26.4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8412" autoAdjust="0"/>
  </p:normalViewPr>
  <p:slideViewPr>
    <p:cSldViewPr snapToGrid="0">
      <p:cViewPr varScale="1">
        <p:scale>
          <a:sx n="90" d="100"/>
          <a:sy n="90" d="100"/>
        </p:scale>
        <p:origin x="30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5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63" Type="http://schemas.openxmlformats.org/officeDocument/2006/relationships/customXml" Target="../customXml/item63.xml"/><Relationship Id="rId84" Type="http://schemas.openxmlformats.org/officeDocument/2006/relationships/customXml" Target="../customXml/item84.xml"/><Relationship Id="rId138" Type="http://schemas.openxmlformats.org/officeDocument/2006/relationships/notesMaster" Target="notesMasters/notesMaster1.xml"/><Relationship Id="rId107" Type="http://schemas.openxmlformats.org/officeDocument/2006/relationships/customXml" Target="../customXml/item107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53" Type="http://schemas.openxmlformats.org/officeDocument/2006/relationships/customXml" Target="../customXml/item53.xml"/><Relationship Id="rId74" Type="http://schemas.openxmlformats.org/officeDocument/2006/relationships/customXml" Target="../customXml/item74.xml"/><Relationship Id="rId128" Type="http://schemas.openxmlformats.org/officeDocument/2006/relationships/slide" Target="slides/slide16.xml"/><Relationship Id="rId5" Type="http://schemas.openxmlformats.org/officeDocument/2006/relationships/customXml" Target="../customXml/item5.xml"/><Relationship Id="rId90" Type="http://schemas.openxmlformats.org/officeDocument/2006/relationships/customXml" Target="../customXml/item90.xml"/><Relationship Id="rId95" Type="http://schemas.openxmlformats.org/officeDocument/2006/relationships/customXml" Target="../customXml/item95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64" Type="http://schemas.openxmlformats.org/officeDocument/2006/relationships/customXml" Target="../customXml/item64.xml"/><Relationship Id="rId69" Type="http://schemas.openxmlformats.org/officeDocument/2006/relationships/customXml" Target="../customXml/item69.xml"/><Relationship Id="rId113" Type="http://schemas.openxmlformats.org/officeDocument/2006/relationships/slide" Target="slides/slide1.xml"/><Relationship Id="rId118" Type="http://schemas.openxmlformats.org/officeDocument/2006/relationships/slide" Target="slides/slide6.xml"/><Relationship Id="rId134" Type="http://schemas.openxmlformats.org/officeDocument/2006/relationships/slide" Target="slides/slide22.xml"/><Relationship Id="rId139" Type="http://schemas.openxmlformats.org/officeDocument/2006/relationships/handoutMaster" Target="handoutMasters/handoutMaster1.xml"/><Relationship Id="rId80" Type="http://schemas.openxmlformats.org/officeDocument/2006/relationships/customXml" Target="../customXml/item80.xml"/><Relationship Id="rId85" Type="http://schemas.openxmlformats.org/officeDocument/2006/relationships/customXml" Target="../customXml/item85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59" Type="http://schemas.openxmlformats.org/officeDocument/2006/relationships/customXml" Target="../customXml/item59.xml"/><Relationship Id="rId103" Type="http://schemas.openxmlformats.org/officeDocument/2006/relationships/customXml" Target="../customXml/item103.xml"/><Relationship Id="rId108" Type="http://schemas.openxmlformats.org/officeDocument/2006/relationships/customXml" Target="../customXml/item108.xml"/><Relationship Id="rId124" Type="http://schemas.openxmlformats.org/officeDocument/2006/relationships/slide" Target="slides/slide12.xml"/><Relationship Id="rId129" Type="http://schemas.openxmlformats.org/officeDocument/2006/relationships/slide" Target="slides/slide17.xml"/><Relationship Id="rId54" Type="http://schemas.openxmlformats.org/officeDocument/2006/relationships/customXml" Target="../customXml/item54.xml"/><Relationship Id="rId70" Type="http://schemas.openxmlformats.org/officeDocument/2006/relationships/customXml" Target="../customXml/item70.xml"/><Relationship Id="rId75" Type="http://schemas.openxmlformats.org/officeDocument/2006/relationships/customXml" Target="../customXml/item75.xml"/><Relationship Id="rId91" Type="http://schemas.openxmlformats.org/officeDocument/2006/relationships/customXml" Target="../customXml/item91.xml"/><Relationship Id="rId96" Type="http://schemas.openxmlformats.org/officeDocument/2006/relationships/customXml" Target="../customXml/item96.xml"/><Relationship Id="rId140" Type="http://schemas.openxmlformats.org/officeDocument/2006/relationships/presProps" Target="presProps.xml"/><Relationship Id="rId145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slide" Target="slides/slide2.xml"/><Relationship Id="rId119" Type="http://schemas.openxmlformats.org/officeDocument/2006/relationships/slide" Target="slides/slide7.xml"/><Relationship Id="rId44" Type="http://schemas.openxmlformats.org/officeDocument/2006/relationships/customXml" Target="../customXml/item44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81" Type="http://schemas.openxmlformats.org/officeDocument/2006/relationships/customXml" Target="../customXml/item81.xml"/><Relationship Id="rId86" Type="http://schemas.openxmlformats.org/officeDocument/2006/relationships/customXml" Target="../customXml/item86.xml"/><Relationship Id="rId130" Type="http://schemas.openxmlformats.org/officeDocument/2006/relationships/slide" Target="slides/slide18.xml"/><Relationship Id="rId135" Type="http://schemas.openxmlformats.org/officeDocument/2006/relationships/slide" Target="slides/slide23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customXml" Target="../customXml/item10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customXml" Target="../customXml/item97.xml"/><Relationship Id="rId104" Type="http://schemas.openxmlformats.org/officeDocument/2006/relationships/customXml" Target="../customXml/item104.xml"/><Relationship Id="rId120" Type="http://schemas.openxmlformats.org/officeDocument/2006/relationships/slide" Target="slides/slide8.xml"/><Relationship Id="rId125" Type="http://schemas.openxmlformats.org/officeDocument/2006/relationships/slide" Target="slides/slide13.xml"/><Relationship Id="rId141" Type="http://schemas.openxmlformats.org/officeDocument/2006/relationships/viewProps" Target="viewProps.xml"/><Relationship Id="rId7" Type="http://schemas.openxmlformats.org/officeDocument/2006/relationships/customXml" Target="../customXml/item7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customXml" Target="../customXml/item110.xml"/><Relationship Id="rId115" Type="http://schemas.openxmlformats.org/officeDocument/2006/relationships/slide" Target="slides/slide3.xml"/><Relationship Id="rId131" Type="http://schemas.openxmlformats.org/officeDocument/2006/relationships/slide" Target="slides/slide19.xml"/><Relationship Id="rId136" Type="http://schemas.openxmlformats.org/officeDocument/2006/relationships/slide" Target="slides/slide24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customXml" Target="../customXml/item56.xml"/><Relationship Id="rId77" Type="http://schemas.openxmlformats.org/officeDocument/2006/relationships/customXml" Target="../customXml/item77.xml"/><Relationship Id="rId100" Type="http://schemas.openxmlformats.org/officeDocument/2006/relationships/customXml" Target="../customXml/item100.xml"/><Relationship Id="rId105" Type="http://schemas.openxmlformats.org/officeDocument/2006/relationships/customXml" Target="../customXml/item105.xml"/><Relationship Id="rId126" Type="http://schemas.openxmlformats.org/officeDocument/2006/relationships/slide" Target="slides/slide14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93" Type="http://schemas.openxmlformats.org/officeDocument/2006/relationships/customXml" Target="../customXml/item93.xml"/><Relationship Id="rId98" Type="http://schemas.openxmlformats.org/officeDocument/2006/relationships/customXml" Target="../customXml/item98.xml"/><Relationship Id="rId121" Type="http://schemas.openxmlformats.org/officeDocument/2006/relationships/slide" Target="slides/slide9.xml"/><Relationship Id="rId142" Type="http://schemas.openxmlformats.org/officeDocument/2006/relationships/theme" Target="theme/theme1.xml"/><Relationship Id="rId3" Type="http://schemas.openxmlformats.org/officeDocument/2006/relationships/customXml" Target="../customXml/item3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customXml" Target="../customXml/item67.xml"/><Relationship Id="rId116" Type="http://schemas.openxmlformats.org/officeDocument/2006/relationships/slide" Target="slides/slide4.xml"/><Relationship Id="rId137" Type="http://schemas.openxmlformats.org/officeDocument/2006/relationships/slide" Target="slides/slide25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customXml" Target="../customXml/item62.xml"/><Relationship Id="rId83" Type="http://schemas.openxmlformats.org/officeDocument/2006/relationships/customXml" Target="../customXml/item83.xml"/><Relationship Id="rId88" Type="http://schemas.openxmlformats.org/officeDocument/2006/relationships/customXml" Target="../customXml/item88.xml"/><Relationship Id="rId111" Type="http://schemas.openxmlformats.org/officeDocument/2006/relationships/customXml" Target="../customXml/item111.xml"/><Relationship Id="rId132" Type="http://schemas.openxmlformats.org/officeDocument/2006/relationships/slide" Target="slides/slide20.xml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customXml" Target="../customXml/item57.xml"/><Relationship Id="rId106" Type="http://schemas.openxmlformats.org/officeDocument/2006/relationships/customXml" Target="../customXml/item106.xml"/><Relationship Id="rId127" Type="http://schemas.openxmlformats.org/officeDocument/2006/relationships/slide" Target="slides/slide15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customXml" Target="../customXml/item52.xml"/><Relationship Id="rId73" Type="http://schemas.openxmlformats.org/officeDocument/2006/relationships/customXml" Target="../customXml/item73.xml"/><Relationship Id="rId78" Type="http://schemas.openxmlformats.org/officeDocument/2006/relationships/customXml" Target="../customXml/item78.xml"/><Relationship Id="rId94" Type="http://schemas.openxmlformats.org/officeDocument/2006/relationships/customXml" Target="../customXml/item94.xml"/><Relationship Id="rId99" Type="http://schemas.openxmlformats.org/officeDocument/2006/relationships/customXml" Target="../customXml/item99.xml"/><Relationship Id="rId101" Type="http://schemas.openxmlformats.org/officeDocument/2006/relationships/customXml" Target="../customXml/item101.xml"/><Relationship Id="rId122" Type="http://schemas.openxmlformats.org/officeDocument/2006/relationships/slide" Target="slides/slide10.xml"/><Relationship Id="rId143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26" Type="http://schemas.openxmlformats.org/officeDocument/2006/relationships/customXml" Target="../customXml/item26.xml"/><Relationship Id="rId47" Type="http://schemas.openxmlformats.org/officeDocument/2006/relationships/customXml" Target="../customXml/item47.xml"/><Relationship Id="rId68" Type="http://schemas.openxmlformats.org/officeDocument/2006/relationships/customXml" Target="../customXml/item68.xml"/><Relationship Id="rId89" Type="http://schemas.openxmlformats.org/officeDocument/2006/relationships/customXml" Target="../customXml/item89.xml"/><Relationship Id="rId112" Type="http://schemas.openxmlformats.org/officeDocument/2006/relationships/slideMaster" Target="slideMasters/slideMaster1.xml"/><Relationship Id="rId133" Type="http://schemas.openxmlformats.org/officeDocument/2006/relationships/slide" Target="slides/slide21.xml"/><Relationship Id="rId16" Type="http://schemas.openxmlformats.org/officeDocument/2006/relationships/customXml" Target="../customXml/item16.xml"/><Relationship Id="rId37" Type="http://schemas.openxmlformats.org/officeDocument/2006/relationships/customXml" Target="../customXml/item37.xml"/><Relationship Id="rId58" Type="http://schemas.openxmlformats.org/officeDocument/2006/relationships/customXml" Target="../customXml/item58.xml"/><Relationship Id="rId79" Type="http://schemas.openxmlformats.org/officeDocument/2006/relationships/customXml" Target="../customXml/item79.xml"/><Relationship Id="rId102" Type="http://schemas.openxmlformats.org/officeDocument/2006/relationships/customXml" Target="../customXml/item102.xml"/><Relationship Id="rId123" Type="http://schemas.openxmlformats.org/officeDocument/2006/relationships/slide" Target="slides/slide11.xml"/><Relationship Id="rId144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423187B-6DB8-986D-831A-413746A8602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A7C293-5ACE-4025-7247-2330CCB02A0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BAD844-87F9-4B61-87BD-D40F9B24DAEE}" type="datetimeFigureOut">
              <a:rPr lang="en-BE" smtClean="0"/>
              <a:t>06/09/2023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0592A-08BA-8BFA-8EC8-2C6AAD3A99C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960EC5-A897-F8F3-ED43-43A0544E688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823459-704A-47BD-B9DC-50511317EE76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7345415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D0C988-483B-48FD-A81D-38B7FAEE9357}" type="datetimeFigureOut">
              <a:rPr lang="en-NL" smtClean="0"/>
              <a:t>09/06/2023</a:t>
            </a:fld>
            <a:endParaRPr lang="en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0DC35F-06DA-4FEE-B23A-94F67455D01A}" type="slidenum">
              <a:rPr lang="en-NL" smtClean="0"/>
              <a:t>‹#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7681547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83234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40550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05006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24280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89890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40121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96084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65287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5886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50192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31252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00237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112858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596475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35555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AB0633-BFF9-45ED-9A95-289A7C9E0D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68088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3E1866-6ABF-4414-AFB5-B91146A1FA19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37509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792305-3499-4849-A446-D4BE1D853B7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205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46195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52778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30662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endParaRPr lang="en-US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0023EF1-A2FF-4F93-AE15-DE58258799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338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EF9D0B-63BB-FD49-9882-C3BD09597C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16" r="639"/>
          <a:stretch/>
        </p:blipFill>
        <p:spPr>
          <a:xfrm>
            <a:off x="-3273" y="0"/>
            <a:ext cx="12261948" cy="6858000"/>
          </a:xfrm>
          <a:prstGeom prst="rect">
            <a:avLst/>
          </a:prstGeom>
        </p:spPr>
      </p:pic>
      <p:sp>
        <p:nvSpPr>
          <p:cNvPr id="7" name="Title 2"/>
          <p:cNvSpPr>
            <a:spLocks noGrp="1"/>
          </p:cNvSpPr>
          <p:nvPr>
            <p:ph type="title" hasCustomPrompt="1"/>
          </p:nvPr>
        </p:nvSpPr>
        <p:spPr>
          <a:xfrm>
            <a:off x="1542037" y="2085779"/>
            <a:ext cx="9134467" cy="1504101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4800" b="0" i="0" baseline="0">
                <a:gradFill>
                  <a:gsLst>
                    <a:gs pos="15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r>
              <a:rPr lang="en-US"/>
              <a:t>Presentation Titl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18" name="Title 2"/>
          <p:cNvSpPr txBox="1">
            <a:spLocks/>
          </p:cNvSpPr>
          <p:nvPr userDrawn="1"/>
        </p:nvSpPr>
        <p:spPr>
          <a:xfrm>
            <a:off x="15015" y="4919243"/>
            <a:ext cx="12186957" cy="442822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</p:nvPr>
        </p:nvSpPr>
        <p:spPr>
          <a:xfrm>
            <a:off x="1542037" y="5362065"/>
            <a:ext cx="9134467" cy="1034525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800" b="0" i="0" baseline="0">
                <a:gradFill>
                  <a:gsLst>
                    <a:gs pos="15000">
                      <a:schemeClr val="bg1"/>
                    </a:gs>
                    <a:gs pos="100000">
                      <a:schemeClr val="bg1"/>
                    </a:gs>
                  </a:gsLst>
                  <a:lin ang="0" scaled="0"/>
                </a:gra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Speaker Name, Title</a:t>
            </a:r>
          </a:p>
          <a:p>
            <a:pPr lvl="0"/>
            <a:r>
              <a:rPr lang="en-US" err="1"/>
              <a:t>Email@SkyKick.com</a:t>
            </a:r>
            <a:endParaRPr lang="en-US"/>
          </a:p>
          <a:p>
            <a:pPr lvl="0"/>
            <a:r>
              <a:rPr lang="en-US"/>
              <a:t>#</a:t>
            </a:r>
            <a:r>
              <a:rPr lang="en-US" err="1"/>
              <a:t>HashtagIfApplic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80777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plit Navy 30/70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956EA4-7144-754A-B075-AF1372A22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1" y="1645920"/>
            <a:ext cx="2652636" cy="73152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CBDEE8-7695-9C4D-89E9-3D89CFAB3D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5660" y="2468880"/>
            <a:ext cx="2652637" cy="16913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5"/>
                </a:solidFill>
              </a:defRPr>
            </a:lvl1pPr>
            <a:lvl2pPr marL="4572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868360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Footer">
    <p:bg>
      <p:bgPr>
        <a:solidFill>
          <a:srgbClr val="F6F8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92726" y="373478"/>
            <a:ext cx="11418274" cy="381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4000" spc="0" baseline="0">
                <a:gradFill>
                  <a:gsLst>
                    <a:gs pos="15000">
                      <a:schemeClr val="bg1"/>
                    </a:gs>
                    <a:gs pos="100000">
                      <a:schemeClr val="bg1"/>
                    </a:gs>
                  </a:gsLst>
                </a:gradFill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73090" y="644032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gradFill>
                  <a:gsLst>
                    <a:gs pos="29000">
                      <a:schemeClr val="tx2"/>
                    </a:gs>
                    <a:gs pos="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fld id="{9FB25355-5419-45C5-9EED-32CB6992296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54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Click="0" advTm="5000">
        <p14:prism/>
      </p:transition>
    </mc:Choice>
    <mc:Fallback xmlns="">
      <p:transition spd="slow" advClick="0" advTm="5000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280ED22-A149-F9E3-C901-A78FC4209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0733" y="-135824"/>
            <a:ext cx="12433465" cy="699382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A5CD3DF9-C89D-2361-3C0B-9B2E98B310F0}"/>
              </a:ext>
            </a:extLst>
          </p:cNvPr>
          <p:cNvSpPr/>
          <p:nvPr userDrawn="1"/>
        </p:nvSpPr>
        <p:spPr>
          <a:xfrm>
            <a:off x="-128016" y="-135099"/>
            <a:ext cx="12463272" cy="1108397"/>
          </a:xfrm>
          <a:prstGeom prst="rect">
            <a:avLst/>
          </a:prstGeom>
          <a:solidFill>
            <a:srgbClr val="262E6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25">
            <a:extLst>
              <a:ext uri="{FF2B5EF4-FFF2-40B4-BE49-F238E27FC236}">
                <a16:creationId xmlns:a16="http://schemas.microsoft.com/office/drawing/2014/main" id="{9A519665-2A73-1542-BEA2-24F3060A51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320" y="164592"/>
            <a:ext cx="11234738" cy="6656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117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1EF9D0B-63BB-FD49-9882-C3BD09597C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316" r="639"/>
          <a:stretch/>
        </p:blipFill>
        <p:spPr>
          <a:xfrm>
            <a:off x="-3273" y="0"/>
            <a:ext cx="12261948" cy="6858000"/>
          </a:xfrm>
          <a:prstGeom prst="rect">
            <a:avLst/>
          </a:prstGeom>
        </p:spPr>
      </p:pic>
      <p:sp>
        <p:nvSpPr>
          <p:cNvPr id="18" name="Title 2"/>
          <p:cNvSpPr txBox="1">
            <a:spLocks/>
          </p:cNvSpPr>
          <p:nvPr userDrawn="1"/>
        </p:nvSpPr>
        <p:spPr>
          <a:xfrm>
            <a:off x="15015" y="4919243"/>
            <a:ext cx="12186957" cy="442822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5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609620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4A1742D-D860-3D42-AEFD-6C28B7A0991E}"/>
              </a:ext>
            </a:extLst>
          </p:cNvPr>
          <p:cNvSpPr/>
          <p:nvPr/>
        </p:nvSpPr>
        <p:spPr>
          <a:xfrm>
            <a:off x="0" y="6382398"/>
            <a:ext cx="12192000" cy="475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5A2E642-37D7-CA40-95BC-A5050DC6CB80}"/>
              </a:ext>
            </a:extLst>
          </p:cNvPr>
          <p:cNvCxnSpPr/>
          <p:nvPr/>
        </p:nvCxnSpPr>
        <p:spPr>
          <a:xfrm>
            <a:off x="0" y="6382398"/>
            <a:ext cx="12192000" cy="0"/>
          </a:xfrm>
          <a:prstGeom prst="line">
            <a:avLst/>
          </a:prstGeom>
          <a:ln w="6350">
            <a:solidFill>
              <a:srgbClr val="E6E7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4">
            <a:extLst>
              <a:ext uri="{FF2B5EF4-FFF2-40B4-BE49-F238E27FC236}">
                <a16:creationId xmlns:a16="http://schemas.microsoft.com/office/drawing/2014/main" id="{26B7B811-66D3-474F-939B-AC28E4BB2D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69184" y="6527764"/>
            <a:ext cx="808504" cy="211935"/>
            <a:chOff x="2534" y="1699"/>
            <a:chExt cx="2617" cy="686"/>
          </a:xfrm>
          <a:solidFill>
            <a:srgbClr val="00AEFF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E65B3E25-4D75-4B4D-A779-5C41F5D1A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846"/>
              <a:ext cx="328" cy="422"/>
            </a:xfrm>
            <a:custGeom>
              <a:avLst/>
              <a:gdLst>
                <a:gd name="T0" fmla="*/ 56 w 90"/>
                <a:gd name="T1" fmla="*/ 46 h 115"/>
                <a:gd name="T2" fmla="*/ 34 w 90"/>
                <a:gd name="T3" fmla="*/ 32 h 115"/>
                <a:gd name="T4" fmla="*/ 34 w 90"/>
                <a:gd name="T5" fmla="*/ 32 h 115"/>
                <a:gd name="T6" fmla="*/ 45 w 90"/>
                <a:gd name="T7" fmla="*/ 24 h 115"/>
                <a:gd name="T8" fmla="*/ 75 w 90"/>
                <a:gd name="T9" fmla="*/ 35 h 115"/>
                <a:gd name="T10" fmla="*/ 88 w 90"/>
                <a:gd name="T11" fmla="*/ 13 h 115"/>
                <a:gd name="T12" fmla="*/ 46 w 90"/>
                <a:gd name="T13" fmla="*/ 0 h 115"/>
                <a:gd name="T14" fmla="*/ 5 w 90"/>
                <a:gd name="T15" fmla="*/ 35 h 115"/>
                <a:gd name="T16" fmla="*/ 5 w 90"/>
                <a:gd name="T17" fmla="*/ 36 h 115"/>
                <a:gd name="T18" fmla="*/ 38 w 90"/>
                <a:gd name="T19" fmla="*/ 69 h 115"/>
                <a:gd name="T20" fmla="*/ 62 w 90"/>
                <a:gd name="T21" fmla="*/ 82 h 115"/>
                <a:gd name="T22" fmla="*/ 62 w 90"/>
                <a:gd name="T23" fmla="*/ 83 h 115"/>
                <a:gd name="T24" fmla="*/ 48 w 90"/>
                <a:gd name="T25" fmla="*/ 91 h 115"/>
                <a:gd name="T26" fmla="*/ 13 w 90"/>
                <a:gd name="T27" fmla="*/ 78 h 115"/>
                <a:gd name="T28" fmla="*/ 0 w 90"/>
                <a:gd name="T29" fmla="*/ 98 h 115"/>
                <a:gd name="T30" fmla="*/ 47 w 90"/>
                <a:gd name="T31" fmla="*/ 115 h 115"/>
                <a:gd name="T32" fmla="*/ 90 w 90"/>
                <a:gd name="T33" fmla="*/ 79 h 115"/>
                <a:gd name="T34" fmla="*/ 90 w 90"/>
                <a:gd name="T35" fmla="*/ 79 h 115"/>
                <a:gd name="T36" fmla="*/ 56 w 90"/>
                <a:gd name="T37" fmla="*/ 4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115">
                  <a:moveTo>
                    <a:pt x="56" y="46"/>
                  </a:moveTo>
                  <a:cubicBezTo>
                    <a:pt x="44" y="42"/>
                    <a:pt x="34" y="39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28"/>
                    <a:pt x="38" y="24"/>
                    <a:pt x="45" y="24"/>
                  </a:cubicBezTo>
                  <a:cubicBezTo>
                    <a:pt x="53" y="24"/>
                    <a:pt x="64" y="28"/>
                    <a:pt x="75" y="35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75" y="5"/>
                    <a:pt x="60" y="0"/>
                    <a:pt x="46" y="0"/>
                  </a:cubicBezTo>
                  <a:cubicBezTo>
                    <a:pt x="23" y="0"/>
                    <a:pt x="5" y="13"/>
                    <a:pt x="5" y="35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57"/>
                    <a:pt x="23" y="65"/>
                    <a:pt x="38" y="69"/>
                  </a:cubicBezTo>
                  <a:cubicBezTo>
                    <a:pt x="51" y="73"/>
                    <a:pt x="62" y="75"/>
                    <a:pt x="62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8"/>
                    <a:pt x="57" y="91"/>
                    <a:pt x="48" y="91"/>
                  </a:cubicBezTo>
                  <a:cubicBezTo>
                    <a:pt x="38" y="91"/>
                    <a:pt x="25" y="86"/>
                    <a:pt x="13" y="7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4" y="110"/>
                    <a:pt x="32" y="115"/>
                    <a:pt x="47" y="115"/>
                  </a:cubicBezTo>
                  <a:cubicBezTo>
                    <a:pt x="72" y="115"/>
                    <a:pt x="90" y="104"/>
                    <a:pt x="90" y="79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58"/>
                    <a:pt x="72" y="51"/>
                    <a:pt x="5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164D114F-1701-7C43-B01B-B5A8BC9C8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" y="1739"/>
              <a:ext cx="392" cy="522"/>
            </a:xfrm>
            <a:custGeom>
              <a:avLst/>
              <a:gdLst>
                <a:gd name="T0" fmla="*/ 389 w 392"/>
                <a:gd name="T1" fmla="*/ 114 h 522"/>
                <a:gd name="T2" fmla="*/ 251 w 392"/>
                <a:gd name="T3" fmla="*/ 114 h 522"/>
                <a:gd name="T4" fmla="*/ 116 w 392"/>
                <a:gd name="T5" fmla="*/ 261 h 522"/>
                <a:gd name="T6" fmla="*/ 116 w 392"/>
                <a:gd name="T7" fmla="*/ 0 h 522"/>
                <a:gd name="T8" fmla="*/ 0 w 392"/>
                <a:gd name="T9" fmla="*/ 0 h 522"/>
                <a:gd name="T10" fmla="*/ 0 w 392"/>
                <a:gd name="T11" fmla="*/ 522 h 522"/>
                <a:gd name="T12" fmla="*/ 116 w 392"/>
                <a:gd name="T13" fmla="*/ 522 h 522"/>
                <a:gd name="T14" fmla="*/ 116 w 392"/>
                <a:gd name="T15" fmla="*/ 397 h 522"/>
                <a:gd name="T16" fmla="*/ 156 w 392"/>
                <a:gd name="T17" fmla="*/ 356 h 522"/>
                <a:gd name="T18" fmla="*/ 262 w 392"/>
                <a:gd name="T19" fmla="*/ 522 h 522"/>
                <a:gd name="T20" fmla="*/ 392 w 392"/>
                <a:gd name="T21" fmla="*/ 522 h 522"/>
                <a:gd name="T22" fmla="*/ 233 w 392"/>
                <a:gd name="T23" fmla="*/ 276 h 522"/>
                <a:gd name="T24" fmla="*/ 389 w 392"/>
                <a:gd name="T25" fmla="*/ 114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389" y="114"/>
                  </a:moveTo>
                  <a:lnTo>
                    <a:pt x="251" y="114"/>
                  </a:lnTo>
                  <a:lnTo>
                    <a:pt x="116" y="261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6" y="522"/>
                  </a:lnTo>
                  <a:lnTo>
                    <a:pt x="116" y="397"/>
                  </a:lnTo>
                  <a:lnTo>
                    <a:pt x="156" y="356"/>
                  </a:lnTo>
                  <a:lnTo>
                    <a:pt x="262" y="522"/>
                  </a:lnTo>
                  <a:lnTo>
                    <a:pt x="392" y="522"/>
                  </a:lnTo>
                  <a:lnTo>
                    <a:pt x="233" y="276"/>
                  </a:lnTo>
                  <a:lnTo>
                    <a:pt x="389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1C721D96-50A2-E540-9270-68DB55063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1846"/>
              <a:ext cx="378" cy="426"/>
            </a:xfrm>
            <a:custGeom>
              <a:avLst/>
              <a:gdLst>
                <a:gd name="T0" fmla="*/ 60 w 104"/>
                <a:gd name="T1" fmla="*/ 88 h 116"/>
                <a:gd name="T2" fmla="*/ 31 w 104"/>
                <a:gd name="T3" fmla="*/ 58 h 116"/>
                <a:gd name="T4" fmla="*/ 31 w 104"/>
                <a:gd name="T5" fmla="*/ 57 h 116"/>
                <a:gd name="T6" fmla="*/ 59 w 104"/>
                <a:gd name="T7" fmla="*/ 27 h 116"/>
                <a:gd name="T8" fmla="*/ 84 w 104"/>
                <a:gd name="T9" fmla="*/ 39 h 116"/>
                <a:gd name="T10" fmla="*/ 103 w 104"/>
                <a:gd name="T11" fmla="*/ 18 h 116"/>
                <a:gd name="T12" fmla="*/ 59 w 104"/>
                <a:gd name="T13" fmla="*/ 0 h 116"/>
                <a:gd name="T14" fmla="*/ 0 w 104"/>
                <a:gd name="T15" fmla="*/ 58 h 116"/>
                <a:gd name="T16" fmla="*/ 0 w 104"/>
                <a:gd name="T17" fmla="*/ 58 h 116"/>
                <a:gd name="T18" fmla="*/ 58 w 104"/>
                <a:gd name="T19" fmla="*/ 116 h 116"/>
                <a:gd name="T20" fmla="*/ 104 w 104"/>
                <a:gd name="T21" fmla="*/ 95 h 116"/>
                <a:gd name="T22" fmla="*/ 85 w 104"/>
                <a:gd name="T23" fmla="*/ 77 h 116"/>
                <a:gd name="T24" fmla="*/ 60 w 104"/>
                <a:gd name="T25" fmla="*/ 8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16">
                  <a:moveTo>
                    <a:pt x="60" y="88"/>
                  </a:moveTo>
                  <a:cubicBezTo>
                    <a:pt x="43" y="88"/>
                    <a:pt x="31" y="75"/>
                    <a:pt x="31" y="58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41"/>
                    <a:pt x="43" y="27"/>
                    <a:pt x="59" y="27"/>
                  </a:cubicBezTo>
                  <a:cubicBezTo>
                    <a:pt x="70" y="27"/>
                    <a:pt x="77" y="32"/>
                    <a:pt x="84" y="39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93" y="7"/>
                    <a:pt x="80" y="0"/>
                    <a:pt x="59" y="0"/>
                  </a:cubicBezTo>
                  <a:cubicBezTo>
                    <a:pt x="25" y="0"/>
                    <a:pt x="0" y="26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90"/>
                    <a:pt x="25" y="116"/>
                    <a:pt x="58" y="116"/>
                  </a:cubicBezTo>
                  <a:cubicBezTo>
                    <a:pt x="81" y="116"/>
                    <a:pt x="93" y="107"/>
                    <a:pt x="104" y="95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78" y="84"/>
                    <a:pt x="70" y="88"/>
                    <a:pt x="60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AB0A14F7-0064-4F42-996C-0538E0B79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" y="1739"/>
              <a:ext cx="392" cy="522"/>
            </a:xfrm>
            <a:custGeom>
              <a:avLst/>
              <a:gdLst>
                <a:gd name="T0" fmla="*/ 233 w 392"/>
                <a:gd name="T1" fmla="*/ 276 h 522"/>
                <a:gd name="T2" fmla="*/ 385 w 392"/>
                <a:gd name="T3" fmla="*/ 114 h 522"/>
                <a:gd name="T4" fmla="*/ 247 w 392"/>
                <a:gd name="T5" fmla="*/ 114 h 522"/>
                <a:gd name="T6" fmla="*/ 113 w 392"/>
                <a:gd name="T7" fmla="*/ 261 h 522"/>
                <a:gd name="T8" fmla="*/ 113 w 392"/>
                <a:gd name="T9" fmla="*/ 0 h 522"/>
                <a:gd name="T10" fmla="*/ 0 w 392"/>
                <a:gd name="T11" fmla="*/ 0 h 522"/>
                <a:gd name="T12" fmla="*/ 0 w 392"/>
                <a:gd name="T13" fmla="*/ 522 h 522"/>
                <a:gd name="T14" fmla="*/ 113 w 392"/>
                <a:gd name="T15" fmla="*/ 522 h 522"/>
                <a:gd name="T16" fmla="*/ 113 w 392"/>
                <a:gd name="T17" fmla="*/ 397 h 522"/>
                <a:gd name="T18" fmla="*/ 153 w 392"/>
                <a:gd name="T19" fmla="*/ 356 h 522"/>
                <a:gd name="T20" fmla="*/ 258 w 392"/>
                <a:gd name="T21" fmla="*/ 522 h 522"/>
                <a:gd name="T22" fmla="*/ 392 w 392"/>
                <a:gd name="T23" fmla="*/ 522 h 522"/>
                <a:gd name="T24" fmla="*/ 233 w 392"/>
                <a:gd name="T25" fmla="*/ 276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233" y="276"/>
                  </a:moveTo>
                  <a:lnTo>
                    <a:pt x="385" y="114"/>
                  </a:lnTo>
                  <a:lnTo>
                    <a:pt x="247" y="114"/>
                  </a:lnTo>
                  <a:lnTo>
                    <a:pt x="113" y="261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3" y="522"/>
                  </a:lnTo>
                  <a:lnTo>
                    <a:pt x="113" y="397"/>
                  </a:lnTo>
                  <a:lnTo>
                    <a:pt x="153" y="356"/>
                  </a:lnTo>
                  <a:lnTo>
                    <a:pt x="258" y="522"/>
                  </a:lnTo>
                  <a:lnTo>
                    <a:pt x="392" y="522"/>
                  </a:lnTo>
                  <a:lnTo>
                    <a:pt x="233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0A7B8410-FB1A-A94F-9F4D-29A4190C5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" y="1853"/>
              <a:ext cx="113" cy="408"/>
            </a:xfrm>
            <a:custGeom>
              <a:avLst/>
              <a:gdLst>
                <a:gd name="T0" fmla="*/ 0 w 113"/>
                <a:gd name="T1" fmla="*/ 408 h 408"/>
                <a:gd name="T2" fmla="*/ 113 w 113"/>
                <a:gd name="T3" fmla="*/ 408 h 408"/>
                <a:gd name="T4" fmla="*/ 113 w 113"/>
                <a:gd name="T5" fmla="*/ 0 h 408"/>
                <a:gd name="T6" fmla="*/ 0 w 113"/>
                <a:gd name="T7" fmla="*/ 114 h 408"/>
                <a:gd name="T8" fmla="*/ 0 w 113"/>
                <a:gd name="T9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08">
                  <a:moveTo>
                    <a:pt x="0" y="408"/>
                  </a:moveTo>
                  <a:lnTo>
                    <a:pt x="113" y="408"/>
                  </a:lnTo>
                  <a:lnTo>
                    <a:pt x="113" y="0"/>
                  </a:lnTo>
                  <a:lnTo>
                    <a:pt x="0" y="114"/>
                  </a:lnTo>
                  <a:lnTo>
                    <a:pt x="0" y="4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10">
              <a:extLst>
                <a:ext uri="{FF2B5EF4-FFF2-40B4-BE49-F238E27FC236}">
                  <a16:creationId xmlns:a16="http://schemas.microsoft.com/office/drawing/2014/main" id="{24D900B5-2333-9F4A-94F0-14950462F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6" y="1699"/>
              <a:ext cx="123" cy="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4529C71-B9AC-8C47-B8B5-DAF3523DE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" y="1739"/>
              <a:ext cx="789" cy="646"/>
            </a:xfrm>
            <a:custGeom>
              <a:avLst/>
              <a:gdLst>
                <a:gd name="T0" fmla="*/ 145 w 217"/>
                <a:gd name="T1" fmla="*/ 143 h 176"/>
                <a:gd name="T2" fmla="*/ 134 w 217"/>
                <a:gd name="T3" fmla="*/ 150 h 176"/>
                <a:gd name="T4" fmla="*/ 120 w 217"/>
                <a:gd name="T5" fmla="*/ 145 h 176"/>
                <a:gd name="T6" fmla="*/ 109 w 217"/>
                <a:gd name="T7" fmla="*/ 168 h 176"/>
                <a:gd name="T8" fmla="*/ 138 w 217"/>
                <a:gd name="T9" fmla="*/ 176 h 176"/>
                <a:gd name="T10" fmla="*/ 174 w 217"/>
                <a:gd name="T11" fmla="*/ 145 h 176"/>
                <a:gd name="T12" fmla="*/ 217 w 217"/>
                <a:gd name="T13" fmla="*/ 31 h 176"/>
                <a:gd name="T14" fmla="*/ 184 w 217"/>
                <a:gd name="T15" fmla="*/ 31 h 176"/>
                <a:gd name="T16" fmla="*/ 160 w 217"/>
                <a:gd name="T17" fmla="*/ 107 h 176"/>
                <a:gd name="T18" fmla="*/ 134 w 217"/>
                <a:gd name="T19" fmla="*/ 31 h 176"/>
                <a:gd name="T20" fmla="*/ 69 w 217"/>
                <a:gd name="T21" fmla="*/ 31 h 176"/>
                <a:gd name="T22" fmla="*/ 32 w 217"/>
                <a:gd name="T23" fmla="*/ 71 h 176"/>
                <a:gd name="T24" fmla="*/ 32 w 217"/>
                <a:gd name="T25" fmla="*/ 0 h 176"/>
                <a:gd name="T26" fmla="*/ 0 w 217"/>
                <a:gd name="T27" fmla="*/ 0 h 176"/>
                <a:gd name="T28" fmla="*/ 0 w 217"/>
                <a:gd name="T29" fmla="*/ 142 h 176"/>
                <a:gd name="T30" fmla="*/ 32 w 217"/>
                <a:gd name="T31" fmla="*/ 142 h 176"/>
                <a:gd name="T32" fmla="*/ 32 w 217"/>
                <a:gd name="T33" fmla="*/ 108 h 176"/>
                <a:gd name="T34" fmla="*/ 43 w 217"/>
                <a:gd name="T35" fmla="*/ 97 h 176"/>
                <a:gd name="T36" fmla="*/ 72 w 217"/>
                <a:gd name="T37" fmla="*/ 142 h 176"/>
                <a:gd name="T38" fmla="*/ 108 w 217"/>
                <a:gd name="T39" fmla="*/ 142 h 176"/>
                <a:gd name="T40" fmla="*/ 64 w 217"/>
                <a:gd name="T41" fmla="*/ 75 h 176"/>
                <a:gd name="T42" fmla="*/ 101 w 217"/>
                <a:gd name="T43" fmla="*/ 37 h 176"/>
                <a:gd name="T44" fmla="*/ 102 w 217"/>
                <a:gd name="T45" fmla="*/ 36 h 176"/>
                <a:gd name="T46" fmla="*/ 103 w 217"/>
                <a:gd name="T47" fmla="*/ 37 h 176"/>
                <a:gd name="T48" fmla="*/ 145 w 217"/>
                <a:gd name="T49" fmla="*/ 14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7" h="176">
                  <a:moveTo>
                    <a:pt x="145" y="143"/>
                  </a:moveTo>
                  <a:cubicBezTo>
                    <a:pt x="142" y="148"/>
                    <a:pt x="139" y="150"/>
                    <a:pt x="134" y="150"/>
                  </a:cubicBezTo>
                  <a:cubicBezTo>
                    <a:pt x="129" y="150"/>
                    <a:pt x="124" y="148"/>
                    <a:pt x="120" y="145"/>
                  </a:cubicBezTo>
                  <a:cubicBezTo>
                    <a:pt x="109" y="168"/>
                    <a:pt x="109" y="168"/>
                    <a:pt x="109" y="168"/>
                  </a:cubicBezTo>
                  <a:cubicBezTo>
                    <a:pt x="118" y="173"/>
                    <a:pt x="126" y="176"/>
                    <a:pt x="138" y="176"/>
                  </a:cubicBezTo>
                  <a:cubicBezTo>
                    <a:pt x="156" y="176"/>
                    <a:pt x="166" y="168"/>
                    <a:pt x="174" y="14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184" y="31"/>
                    <a:pt x="184" y="31"/>
                    <a:pt x="184" y="31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32" y="142"/>
                    <a:pt x="32" y="142"/>
                    <a:pt x="32" y="142"/>
                  </a:cubicBezTo>
                  <a:cubicBezTo>
                    <a:pt x="32" y="108"/>
                    <a:pt x="32" y="108"/>
                    <a:pt x="32" y="108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108" y="142"/>
                    <a:pt x="108" y="142"/>
                    <a:pt x="108" y="142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1" y="36"/>
                    <a:pt x="102" y="36"/>
                    <a:pt x="102" y="36"/>
                  </a:cubicBezTo>
                  <a:cubicBezTo>
                    <a:pt x="103" y="36"/>
                    <a:pt x="103" y="37"/>
                    <a:pt x="103" y="37"/>
                  </a:cubicBezTo>
                  <a:lnTo>
                    <a:pt x="145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6F8CDA2-6253-6243-BC2A-71F44115B2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3900" y="182975"/>
            <a:ext cx="10744200" cy="558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B702ED7D-02EE-D844-97B4-9453A99DAD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3900" y="1209848"/>
            <a:ext cx="10744200" cy="4060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Clr>
                <a:srgbClr val="00AFFF"/>
              </a:buClr>
              <a:buNone/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Picture 1" descr="Icon&#10;&#10;Description automatically generated">
            <a:extLst>
              <a:ext uri="{FF2B5EF4-FFF2-40B4-BE49-F238E27FC236}">
                <a16:creationId xmlns:a16="http://schemas.microsoft.com/office/drawing/2014/main" id="{657A1925-CE4C-0558-1C52-A3EEDB9EA1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1225" y="62849"/>
            <a:ext cx="765357" cy="79905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9980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4A1742D-D860-3D42-AEFD-6C28B7A0991E}"/>
              </a:ext>
            </a:extLst>
          </p:cNvPr>
          <p:cNvSpPr/>
          <p:nvPr/>
        </p:nvSpPr>
        <p:spPr>
          <a:xfrm>
            <a:off x="0" y="6382398"/>
            <a:ext cx="12192000" cy="475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5A2E642-37D7-CA40-95BC-A5050DC6CB80}"/>
              </a:ext>
            </a:extLst>
          </p:cNvPr>
          <p:cNvCxnSpPr/>
          <p:nvPr/>
        </p:nvCxnSpPr>
        <p:spPr>
          <a:xfrm>
            <a:off x="0" y="6382398"/>
            <a:ext cx="12192000" cy="0"/>
          </a:xfrm>
          <a:prstGeom prst="line">
            <a:avLst/>
          </a:prstGeom>
          <a:ln w="6350">
            <a:solidFill>
              <a:srgbClr val="E6E7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4">
            <a:extLst>
              <a:ext uri="{FF2B5EF4-FFF2-40B4-BE49-F238E27FC236}">
                <a16:creationId xmlns:a16="http://schemas.microsoft.com/office/drawing/2014/main" id="{26B7B811-66D3-474F-939B-AC28E4BB2D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69184" y="6527764"/>
            <a:ext cx="808504" cy="211935"/>
            <a:chOff x="2534" y="1699"/>
            <a:chExt cx="2617" cy="686"/>
          </a:xfrm>
          <a:solidFill>
            <a:srgbClr val="00AEFF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E65B3E25-4D75-4B4D-A779-5C41F5D1A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846"/>
              <a:ext cx="328" cy="422"/>
            </a:xfrm>
            <a:custGeom>
              <a:avLst/>
              <a:gdLst>
                <a:gd name="T0" fmla="*/ 56 w 90"/>
                <a:gd name="T1" fmla="*/ 46 h 115"/>
                <a:gd name="T2" fmla="*/ 34 w 90"/>
                <a:gd name="T3" fmla="*/ 32 h 115"/>
                <a:gd name="T4" fmla="*/ 34 w 90"/>
                <a:gd name="T5" fmla="*/ 32 h 115"/>
                <a:gd name="T6" fmla="*/ 45 w 90"/>
                <a:gd name="T7" fmla="*/ 24 h 115"/>
                <a:gd name="T8" fmla="*/ 75 w 90"/>
                <a:gd name="T9" fmla="*/ 35 h 115"/>
                <a:gd name="T10" fmla="*/ 88 w 90"/>
                <a:gd name="T11" fmla="*/ 13 h 115"/>
                <a:gd name="T12" fmla="*/ 46 w 90"/>
                <a:gd name="T13" fmla="*/ 0 h 115"/>
                <a:gd name="T14" fmla="*/ 5 w 90"/>
                <a:gd name="T15" fmla="*/ 35 h 115"/>
                <a:gd name="T16" fmla="*/ 5 w 90"/>
                <a:gd name="T17" fmla="*/ 36 h 115"/>
                <a:gd name="T18" fmla="*/ 38 w 90"/>
                <a:gd name="T19" fmla="*/ 69 h 115"/>
                <a:gd name="T20" fmla="*/ 62 w 90"/>
                <a:gd name="T21" fmla="*/ 82 h 115"/>
                <a:gd name="T22" fmla="*/ 62 w 90"/>
                <a:gd name="T23" fmla="*/ 83 h 115"/>
                <a:gd name="T24" fmla="*/ 48 w 90"/>
                <a:gd name="T25" fmla="*/ 91 h 115"/>
                <a:gd name="T26" fmla="*/ 13 w 90"/>
                <a:gd name="T27" fmla="*/ 78 h 115"/>
                <a:gd name="T28" fmla="*/ 0 w 90"/>
                <a:gd name="T29" fmla="*/ 98 h 115"/>
                <a:gd name="T30" fmla="*/ 47 w 90"/>
                <a:gd name="T31" fmla="*/ 115 h 115"/>
                <a:gd name="T32" fmla="*/ 90 w 90"/>
                <a:gd name="T33" fmla="*/ 79 h 115"/>
                <a:gd name="T34" fmla="*/ 90 w 90"/>
                <a:gd name="T35" fmla="*/ 79 h 115"/>
                <a:gd name="T36" fmla="*/ 56 w 90"/>
                <a:gd name="T37" fmla="*/ 4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115">
                  <a:moveTo>
                    <a:pt x="56" y="46"/>
                  </a:moveTo>
                  <a:cubicBezTo>
                    <a:pt x="44" y="42"/>
                    <a:pt x="34" y="39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28"/>
                    <a:pt x="38" y="24"/>
                    <a:pt x="45" y="24"/>
                  </a:cubicBezTo>
                  <a:cubicBezTo>
                    <a:pt x="53" y="24"/>
                    <a:pt x="64" y="28"/>
                    <a:pt x="75" y="35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75" y="5"/>
                    <a:pt x="60" y="0"/>
                    <a:pt x="46" y="0"/>
                  </a:cubicBezTo>
                  <a:cubicBezTo>
                    <a:pt x="23" y="0"/>
                    <a:pt x="5" y="13"/>
                    <a:pt x="5" y="35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57"/>
                    <a:pt x="23" y="65"/>
                    <a:pt x="38" y="69"/>
                  </a:cubicBezTo>
                  <a:cubicBezTo>
                    <a:pt x="51" y="73"/>
                    <a:pt x="62" y="75"/>
                    <a:pt x="62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8"/>
                    <a:pt x="57" y="91"/>
                    <a:pt x="48" y="91"/>
                  </a:cubicBezTo>
                  <a:cubicBezTo>
                    <a:pt x="38" y="91"/>
                    <a:pt x="25" y="86"/>
                    <a:pt x="13" y="7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4" y="110"/>
                    <a:pt x="32" y="115"/>
                    <a:pt x="47" y="115"/>
                  </a:cubicBezTo>
                  <a:cubicBezTo>
                    <a:pt x="72" y="115"/>
                    <a:pt x="90" y="104"/>
                    <a:pt x="90" y="79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58"/>
                    <a:pt x="72" y="51"/>
                    <a:pt x="5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164D114F-1701-7C43-B01B-B5A8BC9C8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" y="1739"/>
              <a:ext cx="392" cy="522"/>
            </a:xfrm>
            <a:custGeom>
              <a:avLst/>
              <a:gdLst>
                <a:gd name="T0" fmla="*/ 389 w 392"/>
                <a:gd name="T1" fmla="*/ 114 h 522"/>
                <a:gd name="T2" fmla="*/ 251 w 392"/>
                <a:gd name="T3" fmla="*/ 114 h 522"/>
                <a:gd name="T4" fmla="*/ 116 w 392"/>
                <a:gd name="T5" fmla="*/ 261 h 522"/>
                <a:gd name="T6" fmla="*/ 116 w 392"/>
                <a:gd name="T7" fmla="*/ 0 h 522"/>
                <a:gd name="T8" fmla="*/ 0 w 392"/>
                <a:gd name="T9" fmla="*/ 0 h 522"/>
                <a:gd name="T10" fmla="*/ 0 w 392"/>
                <a:gd name="T11" fmla="*/ 522 h 522"/>
                <a:gd name="T12" fmla="*/ 116 w 392"/>
                <a:gd name="T13" fmla="*/ 522 h 522"/>
                <a:gd name="T14" fmla="*/ 116 w 392"/>
                <a:gd name="T15" fmla="*/ 397 h 522"/>
                <a:gd name="T16" fmla="*/ 156 w 392"/>
                <a:gd name="T17" fmla="*/ 356 h 522"/>
                <a:gd name="T18" fmla="*/ 262 w 392"/>
                <a:gd name="T19" fmla="*/ 522 h 522"/>
                <a:gd name="T20" fmla="*/ 392 w 392"/>
                <a:gd name="T21" fmla="*/ 522 h 522"/>
                <a:gd name="T22" fmla="*/ 233 w 392"/>
                <a:gd name="T23" fmla="*/ 276 h 522"/>
                <a:gd name="T24" fmla="*/ 389 w 392"/>
                <a:gd name="T25" fmla="*/ 114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389" y="114"/>
                  </a:moveTo>
                  <a:lnTo>
                    <a:pt x="251" y="114"/>
                  </a:lnTo>
                  <a:lnTo>
                    <a:pt x="116" y="261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6" y="522"/>
                  </a:lnTo>
                  <a:lnTo>
                    <a:pt x="116" y="397"/>
                  </a:lnTo>
                  <a:lnTo>
                    <a:pt x="156" y="356"/>
                  </a:lnTo>
                  <a:lnTo>
                    <a:pt x="262" y="522"/>
                  </a:lnTo>
                  <a:lnTo>
                    <a:pt x="392" y="522"/>
                  </a:lnTo>
                  <a:lnTo>
                    <a:pt x="233" y="276"/>
                  </a:lnTo>
                  <a:lnTo>
                    <a:pt x="389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1C721D96-50A2-E540-9270-68DB55063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1846"/>
              <a:ext cx="378" cy="426"/>
            </a:xfrm>
            <a:custGeom>
              <a:avLst/>
              <a:gdLst>
                <a:gd name="T0" fmla="*/ 60 w 104"/>
                <a:gd name="T1" fmla="*/ 88 h 116"/>
                <a:gd name="T2" fmla="*/ 31 w 104"/>
                <a:gd name="T3" fmla="*/ 58 h 116"/>
                <a:gd name="T4" fmla="*/ 31 w 104"/>
                <a:gd name="T5" fmla="*/ 57 h 116"/>
                <a:gd name="T6" fmla="*/ 59 w 104"/>
                <a:gd name="T7" fmla="*/ 27 h 116"/>
                <a:gd name="T8" fmla="*/ 84 w 104"/>
                <a:gd name="T9" fmla="*/ 39 h 116"/>
                <a:gd name="T10" fmla="*/ 103 w 104"/>
                <a:gd name="T11" fmla="*/ 18 h 116"/>
                <a:gd name="T12" fmla="*/ 59 w 104"/>
                <a:gd name="T13" fmla="*/ 0 h 116"/>
                <a:gd name="T14" fmla="*/ 0 w 104"/>
                <a:gd name="T15" fmla="*/ 58 h 116"/>
                <a:gd name="T16" fmla="*/ 0 w 104"/>
                <a:gd name="T17" fmla="*/ 58 h 116"/>
                <a:gd name="T18" fmla="*/ 58 w 104"/>
                <a:gd name="T19" fmla="*/ 116 h 116"/>
                <a:gd name="T20" fmla="*/ 104 w 104"/>
                <a:gd name="T21" fmla="*/ 95 h 116"/>
                <a:gd name="T22" fmla="*/ 85 w 104"/>
                <a:gd name="T23" fmla="*/ 77 h 116"/>
                <a:gd name="T24" fmla="*/ 60 w 104"/>
                <a:gd name="T25" fmla="*/ 8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16">
                  <a:moveTo>
                    <a:pt x="60" y="88"/>
                  </a:moveTo>
                  <a:cubicBezTo>
                    <a:pt x="43" y="88"/>
                    <a:pt x="31" y="75"/>
                    <a:pt x="31" y="58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41"/>
                    <a:pt x="43" y="27"/>
                    <a:pt x="59" y="27"/>
                  </a:cubicBezTo>
                  <a:cubicBezTo>
                    <a:pt x="70" y="27"/>
                    <a:pt x="77" y="32"/>
                    <a:pt x="84" y="39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93" y="7"/>
                    <a:pt x="80" y="0"/>
                    <a:pt x="59" y="0"/>
                  </a:cubicBezTo>
                  <a:cubicBezTo>
                    <a:pt x="25" y="0"/>
                    <a:pt x="0" y="26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90"/>
                    <a:pt x="25" y="116"/>
                    <a:pt x="58" y="116"/>
                  </a:cubicBezTo>
                  <a:cubicBezTo>
                    <a:pt x="81" y="116"/>
                    <a:pt x="93" y="107"/>
                    <a:pt x="104" y="95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78" y="84"/>
                    <a:pt x="70" y="88"/>
                    <a:pt x="60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AB0A14F7-0064-4F42-996C-0538E0B79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" y="1739"/>
              <a:ext cx="392" cy="522"/>
            </a:xfrm>
            <a:custGeom>
              <a:avLst/>
              <a:gdLst>
                <a:gd name="T0" fmla="*/ 233 w 392"/>
                <a:gd name="T1" fmla="*/ 276 h 522"/>
                <a:gd name="T2" fmla="*/ 385 w 392"/>
                <a:gd name="T3" fmla="*/ 114 h 522"/>
                <a:gd name="T4" fmla="*/ 247 w 392"/>
                <a:gd name="T5" fmla="*/ 114 h 522"/>
                <a:gd name="T6" fmla="*/ 113 w 392"/>
                <a:gd name="T7" fmla="*/ 261 h 522"/>
                <a:gd name="T8" fmla="*/ 113 w 392"/>
                <a:gd name="T9" fmla="*/ 0 h 522"/>
                <a:gd name="T10" fmla="*/ 0 w 392"/>
                <a:gd name="T11" fmla="*/ 0 h 522"/>
                <a:gd name="T12" fmla="*/ 0 w 392"/>
                <a:gd name="T13" fmla="*/ 522 h 522"/>
                <a:gd name="T14" fmla="*/ 113 w 392"/>
                <a:gd name="T15" fmla="*/ 522 h 522"/>
                <a:gd name="T16" fmla="*/ 113 w 392"/>
                <a:gd name="T17" fmla="*/ 397 h 522"/>
                <a:gd name="T18" fmla="*/ 153 w 392"/>
                <a:gd name="T19" fmla="*/ 356 h 522"/>
                <a:gd name="T20" fmla="*/ 258 w 392"/>
                <a:gd name="T21" fmla="*/ 522 h 522"/>
                <a:gd name="T22" fmla="*/ 392 w 392"/>
                <a:gd name="T23" fmla="*/ 522 h 522"/>
                <a:gd name="T24" fmla="*/ 233 w 392"/>
                <a:gd name="T25" fmla="*/ 276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233" y="276"/>
                  </a:moveTo>
                  <a:lnTo>
                    <a:pt x="385" y="114"/>
                  </a:lnTo>
                  <a:lnTo>
                    <a:pt x="247" y="114"/>
                  </a:lnTo>
                  <a:lnTo>
                    <a:pt x="113" y="261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3" y="522"/>
                  </a:lnTo>
                  <a:lnTo>
                    <a:pt x="113" y="397"/>
                  </a:lnTo>
                  <a:lnTo>
                    <a:pt x="153" y="356"/>
                  </a:lnTo>
                  <a:lnTo>
                    <a:pt x="258" y="522"/>
                  </a:lnTo>
                  <a:lnTo>
                    <a:pt x="392" y="522"/>
                  </a:lnTo>
                  <a:lnTo>
                    <a:pt x="233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0A7B8410-FB1A-A94F-9F4D-29A4190C5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" y="1853"/>
              <a:ext cx="113" cy="408"/>
            </a:xfrm>
            <a:custGeom>
              <a:avLst/>
              <a:gdLst>
                <a:gd name="T0" fmla="*/ 0 w 113"/>
                <a:gd name="T1" fmla="*/ 408 h 408"/>
                <a:gd name="T2" fmla="*/ 113 w 113"/>
                <a:gd name="T3" fmla="*/ 408 h 408"/>
                <a:gd name="T4" fmla="*/ 113 w 113"/>
                <a:gd name="T5" fmla="*/ 0 h 408"/>
                <a:gd name="T6" fmla="*/ 0 w 113"/>
                <a:gd name="T7" fmla="*/ 114 h 408"/>
                <a:gd name="T8" fmla="*/ 0 w 113"/>
                <a:gd name="T9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08">
                  <a:moveTo>
                    <a:pt x="0" y="408"/>
                  </a:moveTo>
                  <a:lnTo>
                    <a:pt x="113" y="408"/>
                  </a:lnTo>
                  <a:lnTo>
                    <a:pt x="113" y="0"/>
                  </a:lnTo>
                  <a:lnTo>
                    <a:pt x="0" y="114"/>
                  </a:lnTo>
                  <a:lnTo>
                    <a:pt x="0" y="4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10">
              <a:extLst>
                <a:ext uri="{FF2B5EF4-FFF2-40B4-BE49-F238E27FC236}">
                  <a16:creationId xmlns:a16="http://schemas.microsoft.com/office/drawing/2014/main" id="{24D900B5-2333-9F4A-94F0-14950462F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6" y="1699"/>
              <a:ext cx="123" cy="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4529C71-B9AC-8C47-B8B5-DAF3523DE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" y="1739"/>
              <a:ext cx="789" cy="646"/>
            </a:xfrm>
            <a:custGeom>
              <a:avLst/>
              <a:gdLst>
                <a:gd name="T0" fmla="*/ 145 w 217"/>
                <a:gd name="T1" fmla="*/ 143 h 176"/>
                <a:gd name="T2" fmla="*/ 134 w 217"/>
                <a:gd name="T3" fmla="*/ 150 h 176"/>
                <a:gd name="T4" fmla="*/ 120 w 217"/>
                <a:gd name="T5" fmla="*/ 145 h 176"/>
                <a:gd name="T6" fmla="*/ 109 w 217"/>
                <a:gd name="T7" fmla="*/ 168 h 176"/>
                <a:gd name="T8" fmla="*/ 138 w 217"/>
                <a:gd name="T9" fmla="*/ 176 h 176"/>
                <a:gd name="T10" fmla="*/ 174 w 217"/>
                <a:gd name="T11" fmla="*/ 145 h 176"/>
                <a:gd name="T12" fmla="*/ 217 w 217"/>
                <a:gd name="T13" fmla="*/ 31 h 176"/>
                <a:gd name="T14" fmla="*/ 184 w 217"/>
                <a:gd name="T15" fmla="*/ 31 h 176"/>
                <a:gd name="T16" fmla="*/ 160 w 217"/>
                <a:gd name="T17" fmla="*/ 107 h 176"/>
                <a:gd name="T18" fmla="*/ 134 w 217"/>
                <a:gd name="T19" fmla="*/ 31 h 176"/>
                <a:gd name="T20" fmla="*/ 69 w 217"/>
                <a:gd name="T21" fmla="*/ 31 h 176"/>
                <a:gd name="T22" fmla="*/ 32 w 217"/>
                <a:gd name="T23" fmla="*/ 71 h 176"/>
                <a:gd name="T24" fmla="*/ 32 w 217"/>
                <a:gd name="T25" fmla="*/ 0 h 176"/>
                <a:gd name="T26" fmla="*/ 0 w 217"/>
                <a:gd name="T27" fmla="*/ 0 h 176"/>
                <a:gd name="T28" fmla="*/ 0 w 217"/>
                <a:gd name="T29" fmla="*/ 142 h 176"/>
                <a:gd name="T30" fmla="*/ 32 w 217"/>
                <a:gd name="T31" fmla="*/ 142 h 176"/>
                <a:gd name="T32" fmla="*/ 32 w 217"/>
                <a:gd name="T33" fmla="*/ 108 h 176"/>
                <a:gd name="T34" fmla="*/ 43 w 217"/>
                <a:gd name="T35" fmla="*/ 97 h 176"/>
                <a:gd name="T36" fmla="*/ 72 w 217"/>
                <a:gd name="T37" fmla="*/ 142 h 176"/>
                <a:gd name="T38" fmla="*/ 108 w 217"/>
                <a:gd name="T39" fmla="*/ 142 h 176"/>
                <a:gd name="T40" fmla="*/ 64 w 217"/>
                <a:gd name="T41" fmla="*/ 75 h 176"/>
                <a:gd name="T42" fmla="*/ 101 w 217"/>
                <a:gd name="T43" fmla="*/ 37 h 176"/>
                <a:gd name="T44" fmla="*/ 102 w 217"/>
                <a:gd name="T45" fmla="*/ 36 h 176"/>
                <a:gd name="T46" fmla="*/ 103 w 217"/>
                <a:gd name="T47" fmla="*/ 37 h 176"/>
                <a:gd name="T48" fmla="*/ 145 w 217"/>
                <a:gd name="T49" fmla="*/ 14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7" h="176">
                  <a:moveTo>
                    <a:pt x="145" y="143"/>
                  </a:moveTo>
                  <a:cubicBezTo>
                    <a:pt x="142" y="148"/>
                    <a:pt x="139" y="150"/>
                    <a:pt x="134" y="150"/>
                  </a:cubicBezTo>
                  <a:cubicBezTo>
                    <a:pt x="129" y="150"/>
                    <a:pt x="124" y="148"/>
                    <a:pt x="120" y="145"/>
                  </a:cubicBezTo>
                  <a:cubicBezTo>
                    <a:pt x="109" y="168"/>
                    <a:pt x="109" y="168"/>
                    <a:pt x="109" y="168"/>
                  </a:cubicBezTo>
                  <a:cubicBezTo>
                    <a:pt x="118" y="173"/>
                    <a:pt x="126" y="176"/>
                    <a:pt x="138" y="176"/>
                  </a:cubicBezTo>
                  <a:cubicBezTo>
                    <a:pt x="156" y="176"/>
                    <a:pt x="166" y="168"/>
                    <a:pt x="174" y="14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184" y="31"/>
                    <a:pt x="184" y="31"/>
                    <a:pt x="184" y="31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32" y="142"/>
                    <a:pt x="32" y="142"/>
                    <a:pt x="32" y="142"/>
                  </a:cubicBezTo>
                  <a:cubicBezTo>
                    <a:pt x="32" y="108"/>
                    <a:pt x="32" y="108"/>
                    <a:pt x="32" y="108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108" y="142"/>
                    <a:pt x="108" y="142"/>
                    <a:pt x="108" y="142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1" y="36"/>
                    <a:pt x="102" y="36"/>
                    <a:pt x="102" y="36"/>
                  </a:cubicBezTo>
                  <a:cubicBezTo>
                    <a:pt x="103" y="36"/>
                    <a:pt x="103" y="37"/>
                    <a:pt x="103" y="37"/>
                  </a:cubicBezTo>
                  <a:lnTo>
                    <a:pt x="145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6F8CDA2-6253-6243-BC2A-71F44115B2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3900" y="182975"/>
            <a:ext cx="10744200" cy="558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B702ED7D-02EE-D844-97B4-9453A99DAD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3900" y="1209848"/>
            <a:ext cx="10744200" cy="4060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Clr>
                <a:srgbClr val="00AFFF"/>
              </a:buClr>
              <a:buNone/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9FD6BBE5-0F28-2C66-7729-7657429E77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44136" y="85185"/>
            <a:ext cx="754380" cy="754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02530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4A1742D-D860-3D42-AEFD-6C28B7A0991E}"/>
              </a:ext>
            </a:extLst>
          </p:cNvPr>
          <p:cNvSpPr/>
          <p:nvPr/>
        </p:nvSpPr>
        <p:spPr>
          <a:xfrm>
            <a:off x="0" y="6382398"/>
            <a:ext cx="12192000" cy="475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5A2E642-37D7-CA40-95BC-A5050DC6CB80}"/>
              </a:ext>
            </a:extLst>
          </p:cNvPr>
          <p:cNvCxnSpPr/>
          <p:nvPr/>
        </p:nvCxnSpPr>
        <p:spPr>
          <a:xfrm>
            <a:off x="0" y="6382398"/>
            <a:ext cx="12192000" cy="0"/>
          </a:xfrm>
          <a:prstGeom prst="line">
            <a:avLst/>
          </a:prstGeom>
          <a:ln w="6350">
            <a:solidFill>
              <a:srgbClr val="E6E7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4">
            <a:extLst>
              <a:ext uri="{FF2B5EF4-FFF2-40B4-BE49-F238E27FC236}">
                <a16:creationId xmlns:a16="http://schemas.microsoft.com/office/drawing/2014/main" id="{26B7B811-66D3-474F-939B-AC28E4BB2D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69184" y="6527764"/>
            <a:ext cx="808504" cy="211935"/>
            <a:chOff x="2534" y="1699"/>
            <a:chExt cx="2617" cy="686"/>
          </a:xfrm>
          <a:solidFill>
            <a:srgbClr val="00AEFF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E65B3E25-4D75-4B4D-A779-5C41F5D1A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846"/>
              <a:ext cx="328" cy="422"/>
            </a:xfrm>
            <a:custGeom>
              <a:avLst/>
              <a:gdLst>
                <a:gd name="T0" fmla="*/ 56 w 90"/>
                <a:gd name="T1" fmla="*/ 46 h 115"/>
                <a:gd name="T2" fmla="*/ 34 w 90"/>
                <a:gd name="T3" fmla="*/ 32 h 115"/>
                <a:gd name="T4" fmla="*/ 34 w 90"/>
                <a:gd name="T5" fmla="*/ 32 h 115"/>
                <a:gd name="T6" fmla="*/ 45 w 90"/>
                <a:gd name="T7" fmla="*/ 24 h 115"/>
                <a:gd name="T8" fmla="*/ 75 w 90"/>
                <a:gd name="T9" fmla="*/ 35 h 115"/>
                <a:gd name="T10" fmla="*/ 88 w 90"/>
                <a:gd name="T11" fmla="*/ 13 h 115"/>
                <a:gd name="T12" fmla="*/ 46 w 90"/>
                <a:gd name="T13" fmla="*/ 0 h 115"/>
                <a:gd name="T14" fmla="*/ 5 w 90"/>
                <a:gd name="T15" fmla="*/ 35 h 115"/>
                <a:gd name="T16" fmla="*/ 5 w 90"/>
                <a:gd name="T17" fmla="*/ 36 h 115"/>
                <a:gd name="T18" fmla="*/ 38 w 90"/>
                <a:gd name="T19" fmla="*/ 69 h 115"/>
                <a:gd name="T20" fmla="*/ 62 w 90"/>
                <a:gd name="T21" fmla="*/ 82 h 115"/>
                <a:gd name="T22" fmla="*/ 62 w 90"/>
                <a:gd name="T23" fmla="*/ 83 h 115"/>
                <a:gd name="T24" fmla="*/ 48 w 90"/>
                <a:gd name="T25" fmla="*/ 91 h 115"/>
                <a:gd name="T26" fmla="*/ 13 w 90"/>
                <a:gd name="T27" fmla="*/ 78 h 115"/>
                <a:gd name="T28" fmla="*/ 0 w 90"/>
                <a:gd name="T29" fmla="*/ 98 h 115"/>
                <a:gd name="T30" fmla="*/ 47 w 90"/>
                <a:gd name="T31" fmla="*/ 115 h 115"/>
                <a:gd name="T32" fmla="*/ 90 w 90"/>
                <a:gd name="T33" fmla="*/ 79 h 115"/>
                <a:gd name="T34" fmla="*/ 90 w 90"/>
                <a:gd name="T35" fmla="*/ 79 h 115"/>
                <a:gd name="T36" fmla="*/ 56 w 90"/>
                <a:gd name="T37" fmla="*/ 4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115">
                  <a:moveTo>
                    <a:pt x="56" y="46"/>
                  </a:moveTo>
                  <a:cubicBezTo>
                    <a:pt x="44" y="42"/>
                    <a:pt x="34" y="39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28"/>
                    <a:pt x="38" y="24"/>
                    <a:pt x="45" y="24"/>
                  </a:cubicBezTo>
                  <a:cubicBezTo>
                    <a:pt x="53" y="24"/>
                    <a:pt x="64" y="28"/>
                    <a:pt x="75" y="35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75" y="5"/>
                    <a:pt x="60" y="0"/>
                    <a:pt x="46" y="0"/>
                  </a:cubicBezTo>
                  <a:cubicBezTo>
                    <a:pt x="23" y="0"/>
                    <a:pt x="5" y="13"/>
                    <a:pt x="5" y="35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57"/>
                    <a:pt x="23" y="65"/>
                    <a:pt x="38" y="69"/>
                  </a:cubicBezTo>
                  <a:cubicBezTo>
                    <a:pt x="51" y="73"/>
                    <a:pt x="62" y="75"/>
                    <a:pt x="62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8"/>
                    <a:pt x="57" y="91"/>
                    <a:pt x="48" y="91"/>
                  </a:cubicBezTo>
                  <a:cubicBezTo>
                    <a:pt x="38" y="91"/>
                    <a:pt x="25" y="86"/>
                    <a:pt x="13" y="7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4" y="110"/>
                    <a:pt x="32" y="115"/>
                    <a:pt x="47" y="115"/>
                  </a:cubicBezTo>
                  <a:cubicBezTo>
                    <a:pt x="72" y="115"/>
                    <a:pt x="90" y="104"/>
                    <a:pt x="90" y="79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58"/>
                    <a:pt x="72" y="51"/>
                    <a:pt x="5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164D114F-1701-7C43-B01B-B5A8BC9C8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" y="1739"/>
              <a:ext cx="392" cy="522"/>
            </a:xfrm>
            <a:custGeom>
              <a:avLst/>
              <a:gdLst>
                <a:gd name="T0" fmla="*/ 389 w 392"/>
                <a:gd name="T1" fmla="*/ 114 h 522"/>
                <a:gd name="T2" fmla="*/ 251 w 392"/>
                <a:gd name="T3" fmla="*/ 114 h 522"/>
                <a:gd name="T4" fmla="*/ 116 w 392"/>
                <a:gd name="T5" fmla="*/ 261 h 522"/>
                <a:gd name="T6" fmla="*/ 116 w 392"/>
                <a:gd name="T7" fmla="*/ 0 h 522"/>
                <a:gd name="T8" fmla="*/ 0 w 392"/>
                <a:gd name="T9" fmla="*/ 0 h 522"/>
                <a:gd name="T10" fmla="*/ 0 w 392"/>
                <a:gd name="T11" fmla="*/ 522 h 522"/>
                <a:gd name="T12" fmla="*/ 116 w 392"/>
                <a:gd name="T13" fmla="*/ 522 h 522"/>
                <a:gd name="T14" fmla="*/ 116 w 392"/>
                <a:gd name="T15" fmla="*/ 397 h 522"/>
                <a:gd name="T16" fmla="*/ 156 w 392"/>
                <a:gd name="T17" fmla="*/ 356 h 522"/>
                <a:gd name="T18" fmla="*/ 262 w 392"/>
                <a:gd name="T19" fmla="*/ 522 h 522"/>
                <a:gd name="T20" fmla="*/ 392 w 392"/>
                <a:gd name="T21" fmla="*/ 522 h 522"/>
                <a:gd name="T22" fmla="*/ 233 w 392"/>
                <a:gd name="T23" fmla="*/ 276 h 522"/>
                <a:gd name="T24" fmla="*/ 389 w 392"/>
                <a:gd name="T25" fmla="*/ 114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389" y="114"/>
                  </a:moveTo>
                  <a:lnTo>
                    <a:pt x="251" y="114"/>
                  </a:lnTo>
                  <a:lnTo>
                    <a:pt x="116" y="261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6" y="522"/>
                  </a:lnTo>
                  <a:lnTo>
                    <a:pt x="116" y="397"/>
                  </a:lnTo>
                  <a:lnTo>
                    <a:pt x="156" y="356"/>
                  </a:lnTo>
                  <a:lnTo>
                    <a:pt x="262" y="522"/>
                  </a:lnTo>
                  <a:lnTo>
                    <a:pt x="392" y="522"/>
                  </a:lnTo>
                  <a:lnTo>
                    <a:pt x="233" y="276"/>
                  </a:lnTo>
                  <a:lnTo>
                    <a:pt x="389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1C721D96-50A2-E540-9270-68DB55063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1846"/>
              <a:ext cx="378" cy="426"/>
            </a:xfrm>
            <a:custGeom>
              <a:avLst/>
              <a:gdLst>
                <a:gd name="T0" fmla="*/ 60 w 104"/>
                <a:gd name="T1" fmla="*/ 88 h 116"/>
                <a:gd name="T2" fmla="*/ 31 w 104"/>
                <a:gd name="T3" fmla="*/ 58 h 116"/>
                <a:gd name="T4" fmla="*/ 31 w 104"/>
                <a:gd name="T5" fmla="*/ 57 h 116"/>
                <a:gd name="T6" fmla="*/ 59 w 104"/>
                <a:gd name="T7" fmla="*/ 27 h 116"/>
                <a:gd name="T8" fmla="*/ 84 w 104"/>
                <a:gd name="T9" fmla="*/ 39 h 116"/>
                <a:gd name="T10" fmla="*/ 103 w 104"/>
                <a:gd name="T11" fmla="*/ 18 h 116"/>
                <a:gd name="T12" fmla="*/ 59 w 104"/>
                <a:gd name="T13" fmla="*/ 0 h 116"/>
                <a:gd name="T14" fmla="*/ 0 w 104"/>
                <a:gd name="T15" fmla="*/ 58 h 116"/>
                <a:gd name="T16" fmla="*/ 0 w 104"/>
                <a:gd name="T17" fmla="*/ 58 h 116"/>
                <a:gd name="T18" fmla="*/ 58 w 104"/>
                <a:gd name="T19" fmla="*/ 116 h 116"/>
                <a:gd name="T20" fmla="*/ 104 w 104"/>
                <a:gd name="T21" fmla="*/ 95 h 116"/>
                <a:gd name="T22" fmla="*/ 85 w 104"/>
                <a:gd name="T23" fmla="*/ 77 h 116"/>
                <a:gd name="T24" fmla="*/ 60 w 104"/>
                <a:gd name="T25" fmla="*/ 8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16">
                  <a:moveTo>
                    <a:pt x="60" y="88"/>
                  </a:moveTo>
                  <a:cubicBezTo>
                    <a:pt x="43" y="88"/>
                    <a:pt x="31" y="75"/>
                    <a:pt x="31" y="58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41"/>
                    <a:pt x="43" y="27"/>
                    <a:pt x="59" y="27"/>
                  </a:cubicBezTo>
                  <a:cubicBezTo>
                    <a:pt x="70" y="27"/>
                    <a:pt x="77" y="32"/>
                    <a:pt x="84" y="39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93" y="7"/>
                    <a:pt x="80" y="0"/>
                    <a:pt x="59" y="0"/>
                  </a:cubicBezTo>
                  <a:cubicBezTo>
                    <a:pt x="25" y="0"/>
                    <a:pt x="0" y="26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90"/>
                    <a:pt x="25" y="116"/>
                    <a:pt x="58" y="116"/>
                  </a:cubicBezTo>
                  <a:cubicBezTo>
                    <a:pt x="81" y="116"/>
                    <a:pt x="93" y="107"/>
                    <a:pt x="104" y="95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78" y="84"/>
                    <a:pt x="70" y="88"/>
                    <a:pt x="60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AB0A14F7-0064-4F42-996C-0538E0B79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" y="1739"/>
              <a:ext cx="392" cy="522"/>
            </a:xfrm>
            <a:custGeom>
              <a:avLst/>
              <a:gdLst>
                <a:gd name="T0" fmla="*/ 233 w 392"/>
                <a:gd name="T1" fmla="*/ 276 h 522"/>
                <a:gd name="T2" fmla="*/ 385 w 392"/>
                <a:gd name="T3" fmla="*/ 114 h 522"/>
                <a:gd name="T4" fmla="*/ 247 w 392"/>
                <a:gd name="T5" fmla="*/ 114 h 522"/>
                <a:gd name="T6" fmla="*/ 113 w 392"/>
                <a:gd name="T7" fmla="*/ 261 h 522"/>
                <a:gd name="T8" fmla="*/ 113 w 392"/>
                <a:gd name="T9" fmla="*/ 0 h 522"/>
                <a:gd name="T10" fmla="*/ 0 w 392"/>
                <a:gd name="T11" fmla="*/ 0 h 522"/>
                <a:gd name="T12" fmla="*/ 0 w 392"/>
                <a:gd name="T13" fmla="*/ 522 h 522"/>
                <a:gd name="T14" fmla="*/ 113 w 392"/>
                <a:gd name="T15" fmla="*/ 522 h 522"/>
                <a:gd name="T16" fmla="*/ 113 w 392"/>
                <a:gd name="T17" fmla="*/ 397 h 522"/>
                <a:gd name="T18" fmla="*/ 153 w 392"/>
                <a:gd name="T19" fmla="*/ 356 h 522"/>
                <a:gd name="T20" fmla="*/ 258 w 392"/>
                <a:gd name="T21" fmla="*/ 522 h 522"/>
                <a:gd name="T22" fmla="*/ 392 w 392"/>
                <a:gd name="T23" fmla="*/ 522 h 522"/>
                <a:gd name="T24" fmla="*/ 233 w 392"/>
                <a:gd name="T25" fmla="*/ 276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233" y="276"/>
                  </a:moveTo>
                  <a:lnTo>
                    <a:pt x="385" y="114"/>
                  </a:lnTo>
                  <a:lnTo>
                    <a:pt x="247" y="114"/>
                  </a:lnTo>
                  <a:lnTo>
                    <a:pt x="113" y="261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3" y="522"/>
                  </a:lnTo>
                  <a:lnTo>
                    <a:pt x="113" y="397"/>
                  </a:lnTo>
                  <a:lnTo>
                    <a:pt x="153" y="356"/>
                  </a:lnTo>
                  <a:lnTo>
                    <a:pt x="258" y="522"/>
                  </a:lnTo>
                  <a:lnTo>
                    <a:pt x="392" y="522"/>
                  </a:lnTo>
                  <a:lnTo>
                    <a:pt x="233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0A7B8410-FB1A-A94F-9F4D-29A4190C5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" y="1853"/>
              <a:ext cx="113" cy="408"/>
            </a:xfrm>
            <a:custGeom>
              <a:avLst/>
              <a:gdLst>
                <a:gd name="T0" fmla="*/ 0 w 113"/>
                <a:gd name="T1" fmla="*/ 408 h 408"/>
                <a:gd name="T2" fmla="*/ 113 w 113"/>
                <a:gd name="T3" fmla="*/ 408 h 408"/>
                <a:gd name="T4" fmla="*/ 113 w 113"/>
                <a:gd name="T5" fmla="*/ 0 h 408"/>
                <a:gd name="T6" fmla="*/ 0 w 113"/>
                <a:gd name="T7" fmla="*/ 114 h 408"/>
                <a:gd name="T8" fmla="*/ 0 w 113"/>
                <a:gd name="T9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08">
                  <a:moveTo>
                    <a:pt x="0" y="408"/>
                  </a:moveTo>
                  <a:lnTo>
                    <a:pt x="113" y="408"/>
                  </a:lnTo>
                  <a:lnTo>
                    <a:pt x="113" y="0"/>
                  </a:lnTo>
                  <a:lnTo>
                    <a:pt x="0" y="114"/>
                  </a:lnTo>
                  <a:lnTo>
                    <a:pt x="0" y="4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10">
              <a:extLst>
                <a:ext uri="{FF2B5EF4-FFF2-40B4-BE49-F238E27FC236}">
                  <a16:creationId xmlns:a16="http://schemas.microsoft.com/office/drawing/2014/main" id="{24D900B5-2333-9F4A-94F0-14950462F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6" y="1699"/>
              <a:ext cx="123" cy="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4529C71-B9AC-8C47-B8B5-DAF3523DE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" y="1739"/>
              <a:ext cx="789" cy="646"/>
            </a:xfrm>
            <a:custGeom>
              <a:avLst/>
              <a:gdLst>
                <a:gd name="T0" fmla="*/ 145 w 217"/>
                <a:gd name="T1" fmla="*/ 143 h 176"/>
                <a:gd name="T2" fmla="*/ 134 w 217"/>
                <a:gd name="T3" fmla="*/ 150 h 176"/>
                <a:gd name="T4" fmla="*/ 120 w 217"/>
                <a:gd name="T5" fmla="*/ 145 h 176"/>
                <a:gd name="T6" fmla="*/ 109 w 217"/>
                <a:gd name="T7" fmla="*/ 168 h 176"/>
                <a:gd name="T8" fmla="*/ 138 w 217"/>
                <a:gd name="T9" fmla="*/ 176 h 176"/>
                <a:gd name="T10" fmla="*/ 174 w 217"/>
                <a:gd name="T11" fmla="*/ 145 h 176"/>
                <a:gd name="T12" fmla="*/ 217 w 217"/>
                <a:gd name="T13" fmla="*/ 31 h 176"/>
                <a:gd name="T14" fmla="*/ 184 w 217"/>
                <a:gd name="T15" fmla="*/ 31 h 176"/>
                <a:gd name="T16" fmla="*/ 160 w 217"/>
                <a:gd name="T17" fmla="*/ 107 h 176"/>
                <a:gd name="T18" fmla="*/ 134 w 217"/>
                <a:gd name="T19" fmla="*/ 31 h 176"/>
                <a:gd name="T20" fmla="*/ 69 w 217"/>
                <a:gd name="T21" fmla="*/ 31 h 176"/>
                <a:gd name="T22" fmla="*/ 32 w 217"/>
                <a:gd name="T23" fmla="*/ 71 h 176"/>
                <a:gd name="T24" fmla="*/ 32 w 217"/>
                <a:gd name="T25" fmla="*/ 0 h 176"/>
                <a:gd name="T26" fmla="*/ 0 w 217"/>
                <a:gd name="T27" fmla="*/ 0 h 176"/>
                <a:gd name="T28" fmla="*/ 0 w 217"/>
                <a:gd name="T29" fmla="*/ 142 h 176"/>
                <a:gd name="T30" fmla="*/ 32 w 217"/>
                <a:gd name="T31" fmla="*/ 142 h 176"/>
                <a:gd name="T32" fmla="*/ 32 w 217"/>
                <a:gd name="T33" fmla="*/ 108 h 176"/>
                <a:gd name="T34" fmla="*/ 43 w 217"/>
                <a:gd name="T35" fmla="*/ 97 h 176"/>
                <a:gd name="T36" fmla="*/ 72 w 217"/>
                <a:gd name="T37" fmla="*/ 142 h 176"/>
                <a:gd name="T38" fmla="*/ 108 w 217"/>
                <a:gd name="T39" fmla="*/ 142 h 176"/>
                <a:gd name="T40" fmla="*/ 64 w 217"/>
                <a:gd name="T41" fmla="*/ 75 h 176"/>
                <a:gd name="T42" fmla="*/ 101 w 217"/>
                <a:gd name="T43" fmla="*/ 37 h 176"/>
                <a:gd name="T44" fmla="*/ 102 w 217"/>
                <a:gd name="T45" fmla="*/ 36 h 176"/>
                <a:gd name="T46" fmla="*/ 103 w 217"/>
                <a:gd name="T47" fmla="*/ 37 h 176"/>
                <a:gd name="T48" fmla="*/ 145 w 217"/>
                <a:gd name="T49" fmla="*/ 14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7" h="176">
                  <a:moveTo>
                    <a:pt x="145" y="143"/>
                  </a:moveTo>
                  <a:cubicBezTo>
                    <a:pt x="142" y="148"/>
                    <a:pt x="139" y="150"/>
                    <a:pt x="134" y="150"/>
                  </a:cubicBezTo>
                  <a:cubicBezTo>
                    <a:pt x="129" y="150"/>
                    <a:pt x="124" y="148"/>
                    <a:pt x="120" y="145"/>
                  </a:cubicBezTo>
                  <a:cubicBezTo>
                    <a:pt x="109" y="168"/>
                    <a:pt x="109" y="168"/>
                    <a:pt x="109" y="168"/>
                  </a:cubicBezTo>
                  <a:cubicBezTo>
                    <a:pt x="118" y="173"/>
                    <a:pt x="126" y="176"/>
                    <a:pt x="138" y="176"/>
                  </a:cubicBezTo>
                  <a:cubicBezTo>
                    <a:pt x="156" y="176"/>
                    <a:pt x="166" y="168"/>
                    <a:pt x="174" y="14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184" y="31"/>
                    <a:pt x="184" y="31"/>
                    <a:pt x="184" y="31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32" y="142"/>
                    <a:pt x="32" y="142"/>
                    <a:pt x="32" y="142"/>
                  </a:cubicBezTo>
                  <a:cubicBezTo>
                    <a:pt x="32" y="108"/>
                    <a:pt x="32" y="108"/>
                    <a:pt x="32" y="108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108" y="142"/>
                    <a:pt x="108" y="142"/>
                    <a:pt x="108" y="142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1" y="36"/>
                    <a:pt x="102" y="36"/>
                    <a:pt x="102" y="36"/>
                  </a:cubicBezTo>
                  <a:cubicBezTo>
                    <a:pt x="103" y="36"/>
                    <a:pt x="103" y="37"/>
                    <a:pt x="103" y="37"/>
                  </a:cubicBezTo>
                  <a:lnTo>
                    <a:pt x="145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6F8CDA2-6253-6243-BC2A-71F44115B2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3900" y="182975"/>
            <a:ext cx="10744200" cy="558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B702ED7D-02EE-D844-97B4-9453A99DAD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3900" y="1209848"/>
            <a:ext cx="10744200" cy="4060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Clr>
                <a:srgbClr val="00AFFF"/>
              </a:buClr>
              <a:buNone/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6FDA3D5-EE1D-B3B7-BB88-C8E97A46F5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19850" y="153211"/>
            <a:ext cx="754380" cy="754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3308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4A1742D-D860-3D42-AEFD-6C28B7A0991E}"/>
              </a:ext>
            </a:extLst>
          </p:cNvPr>
          <p:cNvSpPr/>
          <p:nvPr/>
        </p:nvSpPr>
        <p:spPr>
          <a:xfrm>
            <a:off x="0" y="6382398"/>
            <a:ext cx="12192000" cy="475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5A2E642-37D7-CA40-95BC-A5050DC6CB80}"/>
              </a:ext>
            </a:extLst>
          </p:cNvPr>
          <p:cNvCxnSpPr/>
          <p:nvPr/>
        </p:nvCxnSpPr>
        <p:spPr>
          <a:xfrm>
            <a:off x="0" y="6382398"/>
            <a:ext cx="12192000" cy="0"/>
          </a:xfrm>
          <a:prstGeom prst="line">
            <a:avLst/>
          </a:prstGeom>
          <a:ln w="6350">
            <a:solidFill>
              <a:srgbClr val="E6E7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4">
            <a:extLst>
              <a:ext uri="{FF2B5EF4-FFF2-40B4-BE49-F238E27FC236}">
                <a16:creationId xmlns:a16="http://schemas.microsoft.com/office/drawing/2014/main" id="{26B7B811-66D3-474F-939B-AC28E4BB2D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69184" y="6527764"/>
            <a:ext cx="808504" cy="211935"/>
            <a:chOff x="2534" y="1699"/>
            <a:chExt cx="2617" cy="686"/>
          </a:xfrm>
          <a:solidFill>
            <a:srgbClr val="00AEFF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E65B3E25-4D75-4B4D-A779-5C41F5D1A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846"/>
              <a:ext cx="328" cy="422"/>
            </a:xfrm>
            <a:custGeom>
              <a:avLst/>
              <a:gdLst>
                <a:gd name="T0" fmla="*/ 56 w 90"/>
                <a:gd name="T1" fmla="*/ 46 h 115"/>
                <a:gd name="T2" fmla="*/ 34 w 90"/>
                <a:gd name="T3" fmla="*/ 32 h 115"/>
                <a:gd name="T4" fmla="*/ 34 w 90"/>
                <a:gd name="T5" fmla="*/ 32 h 115"/>
                <a:gd name="T6" fmla="*/ 45 w 90"/>
                <a:gd name="T7" fmla="*/ 24 h 115"/>
                <a:gd name="T8" fmla="*/ 75 w 90"/>
                <a:gd name="T9" fmla="*/ 35 h 115"/>
                <a:gd name="T10" fmla="*/ 88 w 90"/>
                <a:gd name="T11" fmla="*/ 13 h 115"/>
                <a:gd name="T12" fmla="*/ 46 w 90"/>
                <a:gd name="T13" fmla="*/ 0 h 115"/>
                <a:gd name="T14" fmla="*/ 5 w 90"/>
                <a:gd name="T15" fmla="*/ 35 h 115"/>
                <a:gd name="T16" fmla="*/ 5 w 90"/>
                <a:gd name="T17" fmla="*/ 36 h 115"/>
                <a:gd name="T18" fmla="*/ 38 w 90"/>
                <a:gd name="T19" fmla="*/ 69 h 115"/>
                <a:gd name="T20" fmla="*/ 62 w 90"/>
                <a:gd name="T21" fmla="*/ 82 h 115"/>
                <a:gd name="T22" fmla="*/ 62 w 90"/>
                <a:gd name="T23" fmla="*/ 83 h 115"/>
                <a:gd name="T24" fmla="*/ 48 w 90"/>
                <a:gd name="T25" fmla="*/ 91 h 115"/>
                <a:gd name="T26" fmla="*/ 13 w 90"/>
                <a:gd name="T27" fmla="*/ 78 h 115"/>
                <a:gd name="T28" fmla="*/ 0 w 90"/>
                <a:gd name="T29" fmla="*/ 98 h 115"/>
                <a:gd name="T30" fmla="*/ 47 w 90"/>
                <a:gd name="T31" fmla="*/ 115 h 115"/>
                <a:gd name="T32" fmla="*/ 90 w 90"/>
                <a:gd name="T33" fmla="*/ 79 h 115"/>
                <a:gd name="T34" fmla="*/ 90 w 90"/>
                <a:gd name="T35" fmla="*/ 79 h 115"/>
                <a:gd name="T36" fmla="*/ 56 w 90"/>
                <a:gd name="T37" fmla="*/ 4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115">
                  <a:moveTo>
                    <a:pt x="56" y="46"/>
                  </a:moveTo>
                  <a:cubicBezTo>
                    <a:pt x="44" y="42"/>
                    <a:pt x="34" y="39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28"/>
                    <a:pt x="38" y="24"/>
                    <a:pt x="45" y="24"/>
                  </a:cubicBezTo>
                  <a:cubicBezTo>
                    <a:pt x="53" y="24"/>
                    <a:pt x="64" y="28"/>
                    <a:pt x="75" y="35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75" y="5"/>
                    <a:pt x="60" y="0"/>
                    <a:pt x="46" y="0"/>
                  </a:cubicBezTo>
                  <a:cubicBezTo>
                    <a:pt x="23" y="0"/>
                    <a:pt x="5" y="13"/>
                    <a:pt x="5" y="35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57"/>
                    <a:pt x="23" y="65"/>
                    <a:pt x="38" y="69"/>
                  </a:cubicBezTo>
                  <a:cubicBezTo>
                    <a:pt x="51" y="73"/>
                    <a:pt x="62" y="75"/>
                    <a:pt x="62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8"/>
                    <a:pt x="57" y="91"/>
                    <a:pt x="48" y="91"/>
                  </a:cubicBezTo>
                  <a:cubicBezTo>
                    <a:pt x="38" y="91"/>
                    <a:pt x="25" y="86"/>
                    <a:pt x="13" y="7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4" y="110"/>
                    <a:pt x="32" y="115"/>
                    <a:pt x="47" y="115"/>
                  </a:cubicBezTo>
                  <a:cubicBezTo>
                    <a:pt x="72" y="115"/>
                    <a:pt x="90" y="104"/>
                    <a:pt x="90" y="79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58"/>
                    <a:pt x="72" y="51"/>
                    <a:pt x="5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164D114F-1701-7C43-B01B-B5A8BC9C8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" y="1739"/>
              <a:ext cx="392" cy="522"/>
            </a:xfrm>
            <a:custGeom>
              <a:avLst/>
              <a:gdLst>
                <a:gd name="T0" fmla="*/ 389 w 392"/>
                <a:gd name="T1" fmla="*/ 114 h 522"/>
                <a:gd name="T2" fmla="*/ 251 w 392"/>
                <a:gd name="T3" fmla="*/ 114 h 522"/>
                <a:gd name="T4" fmla="*/ 116 w 392"/>
                <a:gd name="T5" fmla="*/ 261 h 522"/>
                <a:gd name="T6" fmla="*/ 116 w 392"/>
                <a:gd name="T7" fmla="*/ 0 h 522"/>
                <a:gd name="T8" fmla="*/ 0 w 392"/>
                <a:gd name="T9" fmla="*/ 0 h 522"/>
                <a:gd name="T10" fmla="*/ 0 w 392"/>
                <a:gd name="T11" fmla="*/ 522 h 522"/>
                <a:gd name="T12" fmla="*/ 116 w 392"/>
                <a:gd name="T13" fmla="*/ 522 h 522"/>
                <a:gd name="T14" fmla="*/ 116 w 392"/>
                <a:gd name="T15" fmla="*/ 397 h 522"/>
                <a:gd name="T16" fmla="*/ 156 w 392"/>
                <a:gd name="T17" fmla="*/ 356 h 522"/>
                <a:gd name="T18" fmla="*/ 262 w 392"/>
                <a:gd name="T19" fmla="*/ 522 h 522"/>
                <a:gd name="T20" fmla="*/ 392 w 392"/>
                <a:gd name="T21" fmla="*/ 522 h 522"/>
                <a:gd name="T22" fmla="*/ 233 w 392"/>
                <a:gd name="T23" fmla="*/ 276 h 522"/>
                <a:gd name="T24" fmla="*/ 389 w 392"/>
                <a:gd name="T25" fmla="*/ 114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389" y="114"/>
                  </a:moveTo>
                  <a:lnTo>
                    <a:pt x="251" y="114"/>
                  </a:lnTo>
                  <a:lnTo>
                    <a:pt x="116" y="261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6" y="522"/>
                  </a:lnTo>
                  <a:lnTo>
                    <a:pt x="116" y="397"/>
                  </a:lnTo>
                  <a:lnTo>
                    <a:pt x="156" y="356"/>
                  </a:lnTo>
                  <a:lnTo>
                    <a:pt x="262" y="522"/>
                  </a:lnTo>
                  <a:lnTo>
                    <a:pt x="392" y="522"/>
                  </a:lnTo>
                  <a:lnTo>
                    <a:pt x="233" y="276"/>
                  </a:lnTo>
                  <a:lnTo>
                    <a:pt x="389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1C721D96-50A2-E540-9270-68DB55063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1846"/>
              <a:ext cx="378" cy="426"/>
            </a:xfrm>
            <a:custGeom>
              <a:avLst/>
              <a:gdLst>
                <a:gd name="T0" fmla="*/ 60 w 104"/>
                <a:gd name="T1" fmla="*/ 88 h 116"/>
                <a:gd name="T2" fmla="*/ 31 w 104"/>
                <a:gd name="T3" fmla="*/ 58 h 116"/>
                <a:gd name="T4" fmla="*/ 31 w 104"/>
                <a:gd name="T5" fmla="*/ 57 h 116"/>
                <a:gd name="T6" fmla="*/ 59 w 104"/>
                <a:gd name="T7" fmla="*/ 27 h 116"/>
                <a:gd name="T8" fmla="*/ 84 w 104"/>
                <a:gd name="T9" fmla="*/ 39 h 116"/>
                <a:gd name="T10" fmla="*/ 103 w 104"/>
                <a:gd name="T11" fmla="*/ 18 h 116"/>
                <a:gd name="T12" fmla="*/ 59 w 104"/>
                <a:gd name="T13" fmla="*/ 0 h 116"/>
                <a:gd name="T14" fmla="*/ 0 w 104"/>
                <a:gd name="T15" fmla="*/ 58 h 116"/>
                <a:gd name="T16" fmla="*/ 0 w 104"/>
                <a:gd name="T17" fmla="*/ 58 h 116"/>
                <a:gd name="T18" fmla="*/ 58 w 104"/>
                <a:gd name="T19" fmla="*/ 116 h 116"/>
                <a:gd name="T20" fmla="*/ 104 w 104"/>
                <a:gd name="T21" fmla="*/ 95 h 116"/>
                <a:gd name="T22" fmla="*/ 85 w 104"/>
                <a:gd name="T23" fmla="*/ 77 h 116"/>
                <a:gd name="T24" fmla="*/ 60 w 104"/>
                <a:gd name="T25" fmla="*/ 8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16">
                  <a:moveTo>
                    <a:pt x="60" y="88"/>
                  </a:moveTo>
                  <a:cubicBezTo>
                    <a:pt x="43" y="88"/>
                    <a:pt x="31" y="75"/>
                    <a:pt x="31" y="58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41"/>
                    <a:pt x="43" y="27"/>
                    <a:pt x="59" y="27"/>
                  </a:cubicBezTo>
                  <a:cubicBezTo>
                    <a:pt x="70" y="27"/>
                    <a:pt x="77" y="32"/>
                    <a:pt x="84" y="39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93" y="7"/>
                    <a:pt x="80" y="0"/>
                    <a:pt x="59" y="0"/>
                  </a:cubicBezTo>
                  <a:cubicBezTo>
                    <a:pt x="25" y="0"/>
                    <a:pt x="0" y="26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90"/>
                    <a:pt x="25" y="116"/>
                    <a:pt x="58" y="116"/>
                  </a:cubicBezTo>
                  <a:cubicBezTo>
                    <a:pt x="81" y="116"/>
                    <a:pt x="93" y="107"/>
                    <a:pt x="104" y="95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78" y="84"/>
                    <a:pt x="70" y="88"/>
                    <a:pt x="60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AB0A14F7-0064-4F42-996C-0538E0B79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" y="1739"/>
              <a:ext cx="392" cy="522"/>
            </a:xfrm>
            <a:custGeom>
              <a:avLst/>
              <a:gdLst>
                <a:gd name="T0" fmla="*/ 233 w 392"/>
                <a:gd name="T1" fmla="*/ 276 h 522"/>
                <a:gd name="T2" fmla="*/ 385 w 392"/>
                <a:gd name="T3" fmla="*/ 114 h 522"/>
                <a:gd name="T4" fmla="*/ 247 w 392"/>
                <a:gd name="T5" fmla="*/ 114 h 522"/>
                <a:gd name="T6" fmla="*/ 113 w 392"/>
                <a:gd name="T7" fmla="*/ 261 h 522"/>
                <a:gd name="T8" fmla="*/ 113 w 392"/>
                <a:gd name="T9" fmla="*/ 0 h 522"/>
                <a:gd name="T10" fmla="*/ 0 w 392"/>
                <a:gd name="T11" fmla="*/ 0 h 522"/>
                <a:gd name="T12" fmla="*/ 0 w 392"/>
                <a:gd name="T13" fmla="*/ 522 h 522"/>
                <a:gd name="T14" fmla="*/ 113 w 392"/>
                <a:gd name="T15" fmla="*/ 522 h 522"/>
                <a:gd name="T16" fmla="*/ 113 w 392"/>
                <a:gd name="T17" fmla="*/ 397 h 522"/>
                <a:gd name="T18" fmla="*/ 153 w 392"/>
                <a:gd name="T19" fmla="*/ 356 h 522"/>
                <a:gd name="T20" fmla="*/ 258 w 392"/>
                <a:gd name="T21" fmla="*/ 522 h 522"/>
                <a:gd name="T22" fmla="*/ 392 w 392"/>
                <a:gd name="T23" fmla="*/ 522 h 522"/>
                <a:gd name="T24" fmla="*/ 233 w 392"/>
                <a:gd name="T25" fmla="*/ 276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233" y="276"/>
                  </a:moveTo>
                  <a:lnTo>
                    <a:pt x="385" y="114"/>
                  </a:lnTo>
                  <a:lnTo>
                    <a:pt x="247" y="114"/>
                  </a:lnTo>
                  <a:lnTo>
                    <a:pt x="113" y="261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3" y="522"/>
                  </a:lnTo>
                  <a:lnTo>
                    <a:pt x="113" y="397"/>
                  </a:lnTo>
                  <a:lnTo>
                    <a:pt x="153" y="356"/>
                  </a:lnTo>
                  <a:lnTo>
                    <a:pt x="258" y="522"/>
                  </a:lnTo>
                  <a:lnTo>
                    <a:pt x="392" y="522"/>
                  </a:lnTo>
                  <a:lnTo>
                    <a:pt x="233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0A7B8410-FB1A-A94F-9F4D-29A4190C5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" y="1853"/>
              <a:ext cx="113" cy="408"/>
            </a:xfrm>
            <a:custGeom>
              <a:avLst/>
              <a:gdLst>
                <a:gd name="T0" fmla="*/ 0 w 113"/>
                <a:gd name="T1" fmla="*/ 408 h 408"/>
                <a:gd name="T2" fmla="*/ 113 w 113"/>
                <a:gd name="T3" fmla="*/ 408 h 408"/>
                <a:gd name="T4" fmla="*/ 113 w 113"/>
                <a:gd name="T5" fmla="*/ 0 h 408"/>
                <a:gd name="T6" fmla="*/ 0 w 113"/>
                <a:gd name="T7" fmla="*/ 114 h 408"/>
                <a:gd name="T8" fmla="*/ 0 w 113"/>
                <a:gd name="T9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08">
                  <a:moveTo>
                    <a:pt x="0" y="408"/>
                  </a:moveTo>
                  <a:lnTo>
                    <a:pt x="113" y="408"/>
                  </a:lnTo>
                  <a:lnTo>
                    <a:pt x="113" y="0"/>
                  </a:lnTo>
                  <a:lnTo>
                    <a:pt x="0" y="114"/>
                  </a:lnTo>
                  <a:lnTo>
                    <a:pt x="0" y="4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10">
              <a:extLst>
                <a:ext uri="{FF2B5EF4-FFF2-40B4-BE49-F238E27FC236}">
                  <a16:creationId xmlns:a16="http://schemas.microsoft.com/office/drawing/2014/main" id="{24D900B5-2333-9F4A-94F0-14950462F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6" y="1699"/>
              <a:ext cx="123" cy="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4529C71-B9AC-8C47-B8B5-DAF3523DE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" y="1739"/>
              <a:ext cx="789" cy="646"/>
            </a:xfrm>
            <a:custGeom>
              <a:avLst/>
              <a:gdLst>
                <a:gd name="T0" fmla="*/ 145 w 217"/>
                <a:gd name="T1" fmla="*/ 143 h 176"/>
                <a:gd name="T2" fmla="*/ 134 w 217"/>
                <a:gd name="T3" fmla="*/ 150 h 176"/>
                <a:gd name="T4" fmla="*/ 120 w 217"/>
                <a:gd name="T5" fmla="*/ 145 h 176"/>
                <a:gd name="T6" fmla="*/ 109 w 217"/>
                <a:gd name="T7" fmla="*/ 168 h 176"/>
                <a:gd name="T8" fmla="*/ 138 w 217"/>
                <a:gd name="T9" fmla="*/ 176 h 176"/>
                <a:gd name="T10" fmla="*/ 174 w 217"/>
                <a:gd name="T11" fmla="*/ 145 h 176"/>
                <a:gd name="T12" fmla="*/ 217 w 217"/>
                <a:gd name="T13" fmla="*/ 31 h 176"/>
                <a:gd name="T14" fmla="*/ 184 w 217"/>
                <a:gd name="T15" fmla="*/ 31 h 176"/>
                <a:gd name="T16" fmla="*/ 160 w 217"/>
                <a:gd name="T17" fmla="*/ 107 h 176"/>
                <a:gd name="T18" fmla="*/ 134 w 217"/>
                <a:gd name="T19" fmla="*/ 31 h 176"/>
                <a:gd name="T20" fmla="*/ 69 w 217"/>
                <a:gd name="T21" fmla="*/ 31 h 176"/>
                <a:gd name="T22" fmla="*/ 32 w 217"/>
                <a:gd name="T23" fmla="*/ 71 h 176"/>
                <a:gd name="T24" fmla="*/ 32 w 217"/>
                <a:gd name="T25" fmla="*/ 0 h 176"/>
                <a:gd name="T26" fmla="*/ 0 w 217"/>
                <a:gd name="T27" fmla="*/ 0 h 176"/>
                <a:gd name="T28" fmla="*/ 0 w 217"/>
                <a:gd name="T29" fmla="*/ 142 h 176"/>
                <a:gd name="T30" fmla="*/ 32 w 217"/>
                <a:gd name="T31" fmla="*/ 142 h 176"/>
                <a:gd name="T32" fmla="*/ 32 w 217"/>
                <a:gd name="T33" fmla="*/ 108 h 176"/>
                <a:gd name="T34" fmla="*/ 43 w 217"/>
                <a:gd name="T35" fmla="*/ 97 h 176"/>
                <a:gd name="T36" fmla="*/ 72 w 217"/>
                <a:gd name="T37" fmla="*/ 142 h 176"/>
                <a:gd name="T38" fmla="*/ 108 w 217"/>
                <a:gd name="T39" fmla="*/ 142 h 176"/>
                <a:gd name="T40" fmla="*/ 64 w 217"/>
                <a:gd name="T41" fmla="*/ 75 h 176"/>
                <a:gd name="T42" fmla="*/ 101 w 217"/>
                <a:gd name="T43" fmla="*/ 37 h 176"/>
                <a:gd name="T44" fmla="*/ 102 w 217"/>
                <a:gd name="T45" fmla="*/ 36 h 176"/>
                <a:gd name="T46" fmla="*/ 103 w 217"/>
                <a:gd name="T47" fmla="*/ 37 h 176"/>
                <a:gd name="T48" fmla="*/ 145 w 217"/>
                <a:gd name="T49" fmla="*/ 14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7" h="176">
                  <a:moveTo>
                    <a:pt x="145" y="143"/>
                  </a:moveTo>
                  <a:cubicBezTo>
                    <a:pt x="142" y="148"/>
                    <a:pt x="139" y="150"/>
                    <a:pt x="134" y="150"/>
                  </a:cubicBezTo>
                  <a:cubicBezTo>
                    <a:pt x="129" y="150"/>
                    <a:pt x="124" y="148"/>
                    <a:pt x="120" y="145"/>
                  </a:cubicBezTo>
                  <a:cubicBezTo>
                    <a:pt x="109" y="168"/>
                    <a:pt x="109" y="168"/>
                    <a:pt x="109" y="168"/>
                  </a:cubicBezTo>
                  <a:cubicBezTo>
                    <a:pt x="118" y="173"/>
                    <a:pt x="126" y="176"/>
                    <a:pt x="138" y="176"/>
                  </a:cubicBezTo>
                  <a:cubicBezTo>
                    <a:pt x="156" y="176"/>
                    <a:pt x="166" y="168"/>
                    <a:pt x="174" y="14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184" y="31"/>
                    <a:pt x="184" y="31"/>
                    <a:pt x="184" y="31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32" y="142"/>
                    <a:pt x="32" y="142"/>
                    <a:pt x="32" y="142"/>
                  </a:cubicBezTo>
                  <a:cubicBezTo>
                    <a:pt x="32" y="108"/>
                    <a:pt x="32" y="108"/>
                    <a:pt x="32" y="108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108" y="142"/>
                    <a:pt x="108" y="142"/>
                    <a:pt x="108" y="142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1" y="36"/>
                    <a:pt x="102" y="36"/>
                    <a:pt x="102" y="36"/>
                  </a:cubicBezTo>
                  <a:cubicBezTo>
                    <a:pt x="103" y="36"/>
                    <a:pt x="103" y="37"/>
                    <a:pt x="103" y="37"/>
                  </a:cubicBezTo>
                  <a:lnTo>
                    <a:pt x="145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6F8CDA2-6253-6243-BC2A-71F44115B2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3900" y="182975"/>
            <a:ext cx="10744200" cy="558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B702ED7D-02EE-D844-97B4-9453A99DAD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3900" y="1209848"/>
            <a:ext cx="10744200" cy="4060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Clr>
                <a:srgbClr val="00AFFF"/>
              </a:buClr>
              <a:buNone/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C68DFAC3-B306-0116-60FC-9738B493BF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45223" y="98411"/>
            <a:ext cx="754380" cy="754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0514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4A1742D-D860-3D42-AEFD-6C28B7A0991E}"/>
              </a:ext>
            </a:extLst>
          </p:cNvPr>
          <p:cNvSpPr/>
          <p:nvPr/>
        </p:nvSpPr>
        <p:spPr>
          <a:xfrm>
            <a:off x="0" y="6382398"/>
            <a:ext cx="12192000" cy="475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5A2E642-37D7-CA40-95BC-A5050DC6CB80}"/>
              </a:ext>
            </a:extLst>
          </p:cNvPr>
          <p:cNvCxnSpPr/>
          <p:nvPr/>
        </p:nvCxnSpPr>
        <p:spPr>
          <a:xfrm>
            <a:off x="0" y="6382398"/>
            <a:ext cx="12192000" cy="0"/>
          </a:xfrm>
          <a:prstGeom prst="line">
            <a:avLst/>
          </a:prstGeom>
          <a:ln w="6350">
            <a:solidFill>
              <a:srgbClr val="E6E7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4">
            <a:extLst>
              <a:ext uri="{FF2B5EF4-FFF2-40B4-BE49-F238E27FC236}">
                <a16:creationId xmlns:a16="http://schemas.microsoft.com/office/drawing/2014/main" id="{26B7B811-66D3-474F-939B-AC28E4BB2D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69184" y="6527764"/>
            <a:ext cx="808504" cy="211935"/>
            <a:chOff x="2534" y="1699"/>
            <a:chExt cx="2617" cy="686"/>
          </a:xfrm>
          <a:solidFill>
            <a:srgbClr val="00AEFF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E65B3E25-4D75-4B4D-A779-5C41F5D1A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846"/>
              <a:ext cx="328" cy="422"/>
            </a:xfrm>
            <a:custGeom>
              <a:avLst/>
              <a:gdLst>
                <a:gd name="T0" fmla="*/ 56 w 90"/>
                <a:gd name="T1" fmla="*/ 46 h 115"/>
                <a:gd name="T2" fmla="*/ 34 w 90"/>
                <a:gd name="T3" fmla="*/ 32 h 115"/>
                <a:gd name="T4" fmla="*/ 34 w 90"/>
                <a:gd name="T5" fmla="*/ 32 h 115"/>
                <a:gd name="T6" fmla="*/ 45 w 90"/>
                <a:gd name="T7" fmla="*/ 24 h 115"/>
                <a:gd name="T8" fmla="*/ 75 w 90"/>
                <a:gd name="T9" fmla="*/ 35 h 115"/>
                <a:gd name="T10" fmla="*/ 88 w 90"/>
                <a:gd name="T11" fmla="*/ 13 h 115"/>
                <a:gd name="T12" fmla="*/ 46 w 90"/>
                <a:gd name="T13" fmla="*/ 0 h 115"/>
                <a:gd name="T14" fmla="*/ 5 w 90"/>
                <a:gd name="T15" fmla="*/ 35 h 115"/>
                <a:gd name="T16" fmla="*/ 5 w 90"/>
                <a:gd name="T17" fmla="*/ 36 h 115"/>
                <a:gd name="T18" fmla="*/ 38 w 90"/>
                <a:gd name="T19" fmla="*/ 69 h 115"/>
                <a:gd name="T20" fmla="*/ 62 w 90"/>
                <a:gd name="T21" fmla="*/ 82 h 115"/>
                <a:gd name="T22" fmla="*/ 62 w 90"/>
                <a:gd name="T23" fmla="*/ 83 h 115"/>
                <a:gd name="T24" fmla="*/ 48 w 90"/>
                <a:gd name="T25" fmla="*/ 91 h 115"/>
                <a:gd name="T26" fmla="*/ 13 w 90"/>
                <a:gd name="T27" fmla="*/ 78 h 115"/>
                <a:gd name="T28" fmla="*/ 0 w 90"/>
                <a:gd name="T29" fmla="*/ 98 h 115"/>
                <a:gd name="T30" fmla="*/ 47 w 90"/>
                <a:gd name="T31" fmla="*/ 115 h 115"/>
                <a:gd name="T32" fmla="*/ 90 w 90"/>
                <a:gd name="T33" fmla="*/ 79 h 115"/>
                <a:gd name="T34" fmla="*/ 90 w 90"/>
                <a:gd name="T35" fmla="*/ 79 h 115"/>
                <a:gd name="T36" fmla="*/ 56 w 90"/>
                <a:gd name="T37" fmla="*/ 4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115">
                  <a:moveTo>
                    <a:pt x="56" y="46"/>
                  </a:moveTo>
                  <a:cubicBezTo>
                    <a:pt x="44" y="42"/>
                    <a:pt x="34" y="39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28"/>
                    <a:pt x="38" y="24"/>
                    <a:pt x="45" y="24"/>
                  </a:cubicBezTo>
                  <a:cubicBezTo>
                    <a:pt x="53" y="24"/>
                    <a:pt x="64" y="28"/>
                    <a:pt x="75" y="35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75" y="5"/>
                    <a:pt x="60" y="0"/>
                    <a:pt x="46" y="0"/>
                  </a:cubicBezTo>
                  <a:cubicBezTo>
                    <a:pt x="23" y="0"/>
                    <a:pt x="5" y="13"/>
                    <a:pt x="5" y="35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57"/>
                    <a:pt x="23" y="65"/>
                    <a:pt x="38" y="69"/>
                  </a:cubicBezTo>
                  <a:cubicBezTo>
                    <a:pt x="51" y="73"/>
                    <a:pt x="62" y="75"/>
                    <a:pt x="62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8"/>
                    <a:pt x="57" y="91"/>
                    <a:pt x="48" y="91"/>
                  </a:cubicBezTo>
                  <a:cubicBezTo>
                    <a:pt x="38" y="91"/>
                    <a:pt x="25" y="86"/>
                    <a:pt x="13" y="7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4" y="110"/>
                    <a:pt x="32" y="115"/>
                    <a:pt x="47" y="115"/>
                  </a:cubicBezTo>
                  <a:cubicBezTo>
                    <a:pt x="72" y="115"/>
                    <a:pt x="90" y="104"/>
                    <a:pt x="90" y="79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58"/>
                    <a:pt x="72" y="51"/>
                    <a:pt x="5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164D114F-1701-7C43-B01B-B5A8BC9C8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" y="1739"/>
              <a:ext cx="392" cy="522"/>
            </a:xfrm>
            <a:custGeom>
              <a:avLst/>
              <a:gdLst>
                <a:gd name="T0" fmla="*/ 389 w 392"/>
                <a:gd name="T1" fmla="*/ 114 h 522"/>
                <a:gd name="T2" fmla="*/ 251 w 392"/>
                <a:gd name="T3" fmla="*/ 114 h 522"/>
                <a:gd name="T4" fmla="*/ 116 w 392"/>
                <a:gd name="T5" fmla="*/ 261 h 522"/>
                <a:gd name="T6" fmla="*/ 116 w 392"/>
                <a:gd name="T7" fmla="*/ 0 h 522"/>
                <a:gd name="T8" fmla="*/ 0 w 392"/>
                <a:gd name="T9" fmla="*/ 0 h 522"/>
                <a:gd name="T10" fmla="*/ 0 w 392"/>
                <a:gd name="T11" fmla="*/ 522 h 522"/>
                <a:gd name="T12" fmla="*/ 116 w 392"/>
                <a:gd name="T13" fmla="*/ 522 h 522"/>
                <a:gd name="T14" fmla="*/ 116 w 392"/>
                <a:gd name="T15" fmla="*/ 397 h 522"/>
                <a:gd name="T16" fmla="*/ 156 w 392"/>
                <a:gd name="T17" fmla="*/ 356 h 522"/>
                <a:gd name="T18" fmla="*/ 262 w 392"/>
                <a:gd name="T19" fmla="*/ 522 h 522"/>
                <a:gd name="T20" fmla="*/ 392 w 392"/>
                <a:gd name="T21" fmla="*/ 522 h 522"/>
                <a:gd name="T22" fmla="*/ 233 w 392"/>
                <a:gd name="T23" fmla="*/ 276 h 522"/>
                <a:gd name="T24" fmla="*/ 389 w 392"/>
                <a:gd name="T25" fmla="*/ 114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389" y="114"/>
                  </a:moveTo>
                  <a:lnTo>
                    <a:pt x="251" y="114"/>
                  </a:lnTo>
                  <a:lnTo>
                    <a:pt x="116" y="261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6" y="522"/>
                  </a:lnTo>
                  <a:lnTo>
                    <a:pt x="116" y="397"/>
                  </a:lnTo>
                  <a:lnTo>
                    <a:pt x="156" y="356"/>
                  </a:lnTo>
                  <a:lnTo>
                    <a:pt x="262" y="522"/>
                  </a:lnTo>
                  <a:lnTo>
                    <a:pt x="392" y="522"/>
                  </a:lnTo>
                  <a:lnTo>
                    <a:pt x="233" y="276"/>
                  </a:lnTo>
                  <a:lnTo>
                    <a:pt x="389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1C721D96-50A2-E540-9270-68DB55063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1846"/>
              <a:ext cx="378" cy="426"/>
            </a:xfrm>
            <a:custGeom>
              <a:avLst/>
              <a:gdLst>
                <a:gd name="T0" fmla="*/ 60 w 104"/>
                <a:gd name="T1" fmla="*/ 88 h 116"/>
                <a:gd name="T2" fmla="*/ 31 w 104"/>
                <a:gd name="T3" fmla="*/ 58 h 116"/>
                <a:gd name="T4" fmla="*/ 31 w 104"/>
                <a:gd name="T5" fmla="*/ 57 h 116"/>
                <a:gd name="T6" fmla="*/ 59 w 104"/>
                <a:gd name="T7" fmla="*/ 27 h 116"/>
                <a:gd name="T8" fmla="*/ 84 w 104"/>
                <a:gd name="T9" fmla="*/ 39 h 116"/>
                <a:gd name="T10" fmla="*/ 103 w 104"/>
                <a:gd name="T11" fmla="*/ 18 h 116"/>
                <a:gd name="T12" fmla="*/ 59 w 104"/>
                <a:gd name="T13" fmla="*/ 0 h 116"/>
                <a:gd name="T14" fmla="*/ 0 w 104"/>
                <a:gd name="T15" fmla="*/ 58 h 116"/>
                <a:gd name="T16" fmla="*/ 0 w 104"/>
                <a:gd name="T17" fmla="*/ 58 h 116"/>
                <a:gd name="T18" fmla="*/ 58 w 104"/>
                <a:gd name="T19" fmla="*/ 116 h 116"/>
                <a:gd name="T20" fmla="*/ 104 w 104"/>
                <a:gd name="T21" fmla="*/ 95 h 116"/>
                <a:gd name="T22" fmla="*/ 85 w 104"/>
                <a:gd name="T23" fmla="*/ 77 h 116"/>
                <a:gd name="T24" fmla="*/ 60 w 104"/>
                <a:gd name="T25" fmla="*/ 8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16">
                  <a:moveTo>
                    <a:pt x="60" y="88"/>
                  </a:moveTo>
                  <a:cubicBezTo>
                    <a:pt x="43" y="88"/>
                    <a:pt x="31" y="75"/>
                    <a:pt x="31" y="58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41"/>
                    <a:pt x="43" y="27"/>
                    <a:pt x="59" y="27"/>
                  </a:cubicBezTo>
                  <a:cubicBezTo>
                    <a:pt x="70" y="27"/>
                    <a:pt x="77" y="32"/>
                    <a:pt x="84" y="39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93" y="7"/>
                    <a:pt x="80" y="0"/>
                    <a:pt x="59" y="0"/>
                  </a:cubicBezTo>
                  <a:cubicBezTo>
                    <a:pt x="25" y="0"/>
                    <a:pt x="0" y="26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90"/>
                    <a:pt x="25" y="116"/>
                    <a:pt x="58" y="116"/>
                  </a:cubicBezTo>
                  <a:cubicBezTo>
                    <a:pt x="81" y="116"/>
                    <a:pt x="93" y="107"/>
                    <a:pt x="104" y="95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78" y="84"/>
                    <a:pt x="70" y="88"/>
                    <a:pt x="60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AB0A14F7-0064-4F42-996C-0538E0B79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" y="1739"/>
              <a:ext cx="392" cy="522"/>
            </a:xfrm>
            <a:custGeom>
              <a:avLst/>
              <a:gdLst>
                <a:gd name="T0" fmla="*/ 233 w 392"/>
                <a:gd name="T1" fmla="*/ 276 h 522"/>
                <a:gd name="T2" fmla="*/ 385 w 392"/>
                <a:gd name="T3" fmla="*/ 114 h 522"/>
                <a:gd name="T4" fmla="*/ 247 w 392"/>
                <a:gd name="T5" fmla="*/ 114 h 522"/>
                <a:gd name="T6" fmla="*/ 113 w 392"/>
                <a:gd name="T7" fmla="*/ 261 h 522"/>
                <a:gd name="T8" fmla="*/ 113 w 392"/>
                <a:gd name="T9" fmla="*/ 0 h 522"/>
                <a:gd name="T10" fmla="*/ 0 w 392"/>
                <a:gd name="T11" fmla="*/ 0 h 522"/>
                <a:gd name="T12" fmla="*/ 0 w 392"/>
                <a:gd name="T13" fmla="*/ 522 h 522"/>
                <a:gd name="T14" fmla="*/ 113 w 392"/>
                <a:gd name="T15" fmla="*/ 522 h 522"/>
                <a:gd name="T16" fmla="*/ 113 w 392"/>
                <a:gd name="T17" fmla="*/ 397 h 522"/>
                <a:gd name="T18" fmla="*/ 153 w 392"/>
                <a:gd name="T19" fmla="*/ 356 h 522"/>
                <a:gd name="T20" fmla="*/ 258 w 392"/>
                <a:gd name="T21" fmla="*/ 522 h 522"/>
                <a:gd name="T22" fmla="*/ 392 w 392"/>
                <a:gd name="T23" fmla="*/ 522 h 522"/>
                <a:gd name="T24" fmla="*/ 233 w 392"/>
                <a:gd name="T25" fmla="*/ 276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233" y="276"/>
                  </a:moveTo>
                  <a:lnTo>
                    <a:pt x="385" y="114"/>
                  </a:lnTo>
                  <a:lnTo>
                    <a:pt x="247" y="114"/>
                  </a:lnTo>
                  <a:lnTo>
                    <a:pt x="113" y="261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3" y="522"/>
                  </a:lnTo>
                  <a:lnTo>
                    <a:pt x="113" y="397"/>
                  </a:lnTo>
                  <a:lnTo>
                    <a:pt x="153" y="356"/>
                  </a:lnTo>
                  <a:lnTo>
                    <a:pt x="258" y="522"/>
                  </a:lnTo>
                  <a:lnTo>
                    <a:pt x="392" y="522"/>
                  </a:lnTo>
                  <a:lnTo>
                    <a:pt x="233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0A7B8410-FB1A-A94F-9F4D-29A4190C5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" y="1853"/>
              <a:ext cx="113" cy="408"/>
            </a:xfrm>
            <a:custGeom>
              <a:avLst/>
              <a:gdLst>
                <a:gd name="T0" fmla="*/ 0 w 113"/>
                <a:gd name="T1" fmla="*/ 408 h 408"/>
                <a:gd name="T2" fmla="*/ 113 w 113"/>
                <a:gd name="T3" fmla="*/ 408 h 408"/>
                <a:gd name="T4" fmla="*/ 113 w 113"/>
                <a:gd name="T5" fmla="*/ 0 h 408"/>
                <a:gd name="T6" fmla="*/ 0 w 113"/>
                <a:gd name="T7" fmla="*/ 114 h 408"/>
                <a:gd name="T8" fmla="*/ 0 w 113"/>
                <a:gd name="T9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08">
                  <a:moveTo>
                    <a:pt x="0" y="408"/>
                  </a:moveTo>
                  <a:lnTo>
                    <a:pt x="113" y="408"/>
                  </a:lnTo>
                  <a:lnTo>
                    <a:pt x="113" y="0"/>
                  </a:lnTo>
                  <a:lnTo>
                    <a:pt x="0" y="114"/>
                  </a:lnTo>
                  <a:lnTo>
                    <a:pt x="0" y="4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10">
              <a:extLst>
                <a:ext uri="{FF2B5EF4-FFF2-40B4-BE49-F238E27FC236}">
                  <a16:creationId xmlns:a16="http://schemas.microsoft.com/office/drawing/2014/main" id="{24D900B5-2333-9F4A-94F0-14950462F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6" y="1699"/>
              <a:ext cx="123" cy="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4529C71-B9AC-8C47-B8B5-DAF3523DE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" y="1739"/>
              <a:ext cx="789" cy="646"/>
            </a:xfrm>
            <a:custGeom>
              <a:avLst/>
              <a:gdLst>
                <a:gd name="T0" fmla="*/ 145 w 217"/>
                <a:gd name="T1" fmla="*/ 143 h 176"/>
                <a:gd name="T2" fmla="*/ 134 w 217"/>
                <a:gd name="T3" fmla="*/ 150 h 176"/>
                <a:gd name="T4" fmla="*/ 120 w 217"/>
                <a:gd name="T5" fmla="*/ 145 h 176"/>
                <a:gd name="T6" fmla="*/ 109 w 217"/>
                <a:gd name="T7" fmla="*/ 168 h 176"/>
                <a:gd name="T8" fmla="*/ 138 w 217"/>
                <a:gd name="T9" fmla="*/ 176 h 176"/>
                <a:gd name="T10" fmla="*/ 174 w 217"/>
                <a:gd name="T11" fmla="*/ 145 h 176"/>
                <a:gd name="T12" fmla="*/ 217 w 217"/>
                <a:gd name="T13" fmla="*/ 31 h 176"/>
                <a:gd name="T14" fmla="*/ 184 w 217"/>
                <a:gd name="T15" fmla="*/ 31 h 176"/>
                <a:gd name="T16" fmla="*/ 160 w 217"/>
                <a:gd name="T17" fmla="*/ 107 h 176"/>
                <a:gd name="T18" fmla="*/ 134 w 217"/>
                <a:gd name="T19" fmla="*/ 31 h 176"/>
                <a:gd name="T20" fmla="*/ 69 w 217"/>
                <a:gd name="T21" fmla="*/ 31 h 176"/>
                <a:gd name="T22" fmla="*/ 32 w 217"/>
                <a:gd name="T23" fmla="*/ 71 h 176"/>
                <a:gd name="T24" fmla="*/ 32 w 217"/>
                <a:gd name="T25" fmla="*/ 0 h 176"/>
                <a:gd name="T26" fmla="*/ 0 w 217"/>
                <a:gd name="T27" fmla="*/ 0 h 176"/>
                <a:gd name="T28" fmla="*/ 0 w 217"/>
                <a:gd name="T29" fmla="*/ 142 h 176"/>
                <a:gd name="T30" fmla="*/ 32 w 217"/>
                <a:gd name="T31" fmla="*/ 142 h 176"/>
                <a:gd name="T32" fmla="*/ 32 w 217"/>
                <a:gd name="T33" fmla="*/ 108 h 176"/>
                <a:gd name="T34" fmla="*/ 43 w 217"/>
                <a:gd name="T35" fmla="*/ 97 h 176"/>
                <a:gd name="T36" fmla="*/ 72 w 217"/>
                <a:gd name="T37" fmla="*/ 142 h 176"/>
                <a:gd name="T38" fmla="*/ 108 w 217"/>
                <a:gd name="T39" fmla="*/ 142 h 176"/>
                <a:gd name="T40" fmla="*/ 64 w 217"/>
                <a:gd name="T41" fmla="*/ 75 h 176"/>
                <a:gd name="T42" fmla="*/ 101 w 217"/>
                <a:gd name="T43" fmla="*/ 37 h 176"/>
                <a:gd name="T44" fmla="*/ 102 w 217"/>
                <a:gd name="T45" fmla="*/ 36 h 176"/>
                <a:gd name="T46" fmla="*/ 103 w 217"/>
                <a:gd name="T47" fmla="*/ 37 h 176"/>
                <a:gd name="T48" fmla="*/ 145 w 217"/>
                <a:gd name="T49" fmla="*/ 14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7" h="176">
                  <a:moveTo>
                    <a:pt x="145" y="143"/>
                  </a:moveTo>
                  <a:cubicBezTo>
                    <a:pt x="142" y="148"/>
                    <a:pt x="139" y="150"/>
                    <a:pt x="134" y="150"/>
                  </a:cubicBezTo>
                  <a:cubicBezTo>
                    <a:pt x="129" y="150"/>
                    <a:pt x="124" y="148"/>
                    <a:pt x="120" y="145"/>
                  </a:cubicBezTo>
                  <a:cubicBezTo>
                    <a:pt x="109" y="168"/>
                    <a:pt x="109" y="168"/>
                    <a:pt x="109" y="168"/>
                  </a:cubicBezTo>
                  <a:cubicBezTo>
                    <a:pt x="118" y="173"/>
                    <a:pt x="126" y="176"/>
                    <a:pt x="138" y="176"/>
                  </a:cubicBezTo>
                  <a:cubicBezTo>
                    <a:pt x="156" y="176"/>
                    <a:pt x="166" y="168"/>
                    <a:pt x="174" y="14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184" y="31"/>
                    <a:pt x="184" y="31"/>
                    <a:pt x="184" y="31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32" y="142"/>
                    <a:pt x="32" y="142"/>
                    <a:pt x="32" y="142"/>
                  </a:cubicBezTo>
                  <a:cubicBezTo>
                    <a:pt x="32" y="108"/>
                    <a:pt x="32" y="108"/>
                    <a:pt x="32" y="108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108" y="142"/>
                    <a:pt x="108" y="142"/>
                    <a:pt x="108" y="142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1" y="36"/>
                    <a:pt x="102" y="36"/>
                    <a:pt x="102" y="36"/>
                  </a:cubicBezTo>
                  <a:cubicBezTo>
                    <a:pt x="103" y="36"/>
                    <a:pt x="103" y="37"/>
                    <a:pt x="103" y="37"/>
                  </a:cubicBezTo>
                  <a:lnTo>
                    <a:pt x="145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6F8CDA2-6253-6243-BC2A-71F44115B2B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3900" y="182975"/>
            <a:ext cx="10744200" cy="5588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6E134AA-623F-43F0-B64E-E194601C7DC0}"/>
              </a:ext>
            </a:extLst>
          </p:cNvPr>
          <p:cNvSpPr/>
          <p:nvPr userDrawn="1"/>
        </p:nvSpPr>
        <p:spPr>
          <a:xfrm>
            <a:off x="3997960" y="939800"/>
            <a:ext cx="8177135" cy="54288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8134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">
    <p:bg>
      <p:bgPr>
        <a:solidFill>
          <a:schemeClr val="accent4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4A1742D-D860-3D42-AEFD-6C28B7A0991E}"/>
              </a:ext>
            </a:extLst>
          </p:cNvPr>
          <p:cNvSpPr/>
          <p:nvPr/>
        </p:nvSpPr>
        <p:spPr>
          <a:xfrm>
            <a:off x="0" y="6382398"/>
            <a:ext cx="12192000" cy="475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5A2E642-37D7-CA40-95BC-A5050DC6CB80}"/>
              </a:ext>
            </a:extLst>
          </p:cNvPr>
          <p:cNvCxnSpPr/>
          <p:nvPr/>
        </p:nvCxnSpPr>
        <p:spPr>
          <a:xfrm>
            <a:off x="0" y="6382398"/>
            <a:ext cx="12192000" cy="0"/>
          </a:xfrm>
          <a:prstGeom prst="line">
            <a:avLst/>
          </a:prstGeom>
          <a:ln w="6350">
            <a:solidFill>
              <a:srgbClr val="E6E7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4">
            <a:extLst>
              <a:ext uri="{FF2B5EF4-FFF2-40B4-BE49-F238E27FC236}">
                <a16:creationId xmlns:a16="http://schemas.microsoft.com/office/drawing/2014/main" id="{26B7B811-66D3-474F-939B-AC28E4BB2D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69184" y="6527764"/>
            <a:ext cx="808504" cy="211935"/>
            <a:chOff x="2534" y="1699"/>
            <a:chExt cx="2617" cy="686"/>
          </a:xfrm>
          <a:solidFill>
            <a:srgbClr val="00AEFF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E65B3E25-4D75-4B4D-A779-5C41F5D1A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846"/>
              <a:ext cx="328" cy="422"/>
            </a:xfrm>
            <a:custGeom>
              <a:avLst/>
              <a:gdLst>
                <a:gd name="T0" fmla="*/ 56 w 90"/>
                <a:gd name="T1" fmla="*/ 46 h 115"/>
                <a:gd name="T2" fmla="*/ 34 w 90"/>
                <a:gd name="T3" fmla="*/ 32 h 115"/>
                <a:gd name="T4" fmla="*/ 34 w 90"/>
                <a:gd name="T5" fmla="*/ 32 h 115"/>
                <a:gd name="T6" fmla="*/ 45 w 90"/>
                <a:gd name="T7" fmla="*/ 24 h 115"/>
                <a:gd name="T8" fmla="*/ 75 w 90"/>
                <a:gd name="T9" fmla="*/ 35 h 115"/>
                <a:gd name="T10" fmla="*/ 88 w 90"/>
                <a:gd name="T11" fmla="*/ 13 h 115"/>
                <a:gd name="T12" fmla="*/ 46 w 90"/>
                <a:gd name="T13" fmla="*/ 0 h 115"/>
                <a:gd name="T14" fmla="*/ 5 w 90"/>
                <a:gd name="T15" fmla="*/ 35 h 115"/>
                <a:gd name="T16" fmla="*/ 5 w 90"/>
                <a:gd name="T17" fmla="*/ 36 h 115"/>
                <a:gd name="T18" fmla="*/ 38 w 90"/>
                <a:gd name="T19" fmla="*/ 69 h 115"/>
                <a:gd name="T20" fmla="*/ 62 w 90"/>
                <a:gd name="T21" fmla="*/ 82 h 115"/>
                <a:gd name="T22" fmla="*/ 62 w 90"/>
                <a:gd name="T23" fmla="*/ 83 h 115"/>
                <a:gd name="T24" fmla="*/ 48 w 90"/>
                <a:gd name="T25" fmla="*/ 91 h 115"/>
                <a:gd name="T26" fmla="*/ 13 w 90"/>
                <a:gd name="T27" fmla="*/ 78 h 115"/>
                <a:gd name="T28" fmla="*/ 0 w 90"/>
                <a:gd name="T29" fmla="*/ 98 h 115"/>
                <a:gd name="T30" fmla="*/ 47 w 90"/>
                <a:gd name="T31" fmla="*/ 115 h 115"/>
                <a:gd name="T32" fmla="*/ 90 w 90"/>
                <a:gd name="T33" fmla="*/ 79 h 115"/>
                <a:gd name="T34" fmla="*/ 90 w 90"/>
                <a:gd name="T35" fmla="*/ 79 h 115"/>
                <a:gd name="T36" fmla="*/ 56 w 90"/>
                <a:gd name="T37" fmla="*/ 4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115">
                  <a:moveTo>
                    <a:pt x="56" y="46"/>
                  </a:moveTo>
                  <a:cubicBezTo>
                    <a:pt x="44" y="42"/>
                    <a:pt x="34" y="39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28"/>
                    <a:pt x="38" y="24"/>
                    <a:pt x="45" y="24"/>
                  </a:cubicBezTo>
                  <a:cubicBezTo>
                    <a:pt x="53" y="24"/>
                    <a:pt x="64" y="28"/>
                    <a:pt x="75" y="35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75" y="5"/>
                    <a:pt x="60" y="0"/>
                    <a:pt x="46" y="0"/>
                  </a:cubicBezTo>
                  <a:cubicBezTo>
                    <a:pt x="23" y="0"/>
                    <a:pt x="5" y="13"/>
                    <a:pt x="5" y="35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57"/>
                    <a:pt x="23" y="65"/>
                    <a:pt x="38" y="69"/>
                  </a:cubicBezTo>
                  <a:cubicBezTo>
                    <a:pt x="51" y="73"/>
                    <a:pt x="62" y="75"/>
                    <a:pt x="62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8"/>
                    <a:pt x="57" y="91"/>
                    <a:pt x="48" y="91"/>
                  </a:cubicBezTo>
                  <a:cubicBezTo>
                    <a:pt x="38" y="91"/>
                    <a:pt x="25" y="86"/>
                    <a:pt x="13" y="7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4" y="110"/>
                    <a:pt x="32" y="115"/>
                    <a:pt x="47" y="115"/>
                  </a:cubicBezTo>
                  <a:cubicBezTo>
                    <a:pt x="72" y="115"/>
                    <a:pt x="90" y="104"/>
                    <a:pt x="90" y="79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58"/>
                    <a:pt x="72" y="51"/>
                    <a:pt x="5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164D114F-1701-7C43-B01B-B5A8BC9C8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" y="1739"/>
              <a:ext cx="392" cy="522"/>
            </a:xfrm>
            <a:custGeom>
              <a:avLst/>
              <a:gdLst>
                <a:gd name="T0" fmla="*/ 389 w 392"/>
                <a:gd name="T1" fmla="*/ 114 h 522"/>
                <a:gd name="T2" fmla="*/ 251 w 392"/>
                <a:gd name="T3" fmla="*/ 114 h 522"/>
                <a:gd name="T4" fmla="*/ 116 w 392"/>
                <a:gd name="T5" fmla="*/ 261 h 522"/>
                <a:gd name="T6" fmla="*/ 116 w 392"/>
                <a:gd name="T7" fmla="*/ 0 h 522"/>
                <a:gd name="T8" fmla="*/ 0 w 392"/>
                <a:gd name="T9" fmla="*/ 0 h 522"/>
                <a:gd name="T10" fmla="*/ 0 w 392"/>
                <a:gd name="T11" fmla="*/ 522 h 522"/>
                <a:gd name="T12" fmla="*/ 116 w 392"/>
                <a:gd name="T13" fmla="*/ 522 h 522"/>
                <a:gd name="T14" fmla="*/ 116 w 392"/>
                <a:gd name="T15" fmla="*/ 397 h 522"/>
                <a:gd name="T16" fmla="*/ 156 w 392"/>
                <a:gd name="T17" fmla="*/ 356 h 522"/>
                <a:gd name="T18" fmla="*/ 262 w 392"/>
                <a:gd name="T19" fmla="*/ 522 h 522"/>
                <a:gd name="T20" fmla="*/ 392 w 392"/>
                <a:gd name="T21" fmla="*/ 522 h 522"/>
                <a:gd name="T22" fmla="*/ 233 w 392"/>
                <a:gd name="T23" fmla="*/ 276 h 522"/>
                <a:gd name="T24" fmla="*/ 389 w 392"/>
                <a:gd name="T25" fmla="*/ 114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389" y="114"/>
                  </a:moveTo>
                  <a:lnTo>
                    <a:pt x="251" y="114"/>
                  </a:lnTo>
                  <a:lnTo>
                    <a:pt x="116" y="261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6" y="522"/>
                  </a:lnTo>
                  <a:lnTo>
                    <a:pt x="116" y="397"/>
                  </a:lnTo>
                  <a:lnTo>
                    <a:pt x="156" y="356"/>
                  </a:lnTo>
                  <a:lnTo>
                    <a:pt x="262" y="522"/>
                  </a:lnTo>
                  <a:lnTo>
                    <a:pt x="392" y="522"/>
                  </a:lnTo>
                  <a:lnTo>
                    <a:pt x="233" y="276"/>
                  </a:lnTo>
                  <a:lnTo>
                    <a:pt x="389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1C721D96-50A2-E540-9270-68DB55063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1846"/>
              <a:ext cx="378" cy="426"/>
            </a:xfrm>
            <a:custGeom>
              <a:avLst/>
              <a:gdLst>
                <a:gd name="T0" fmla="*/ 60 w 104"/>
                <a:gd name="T1" fmla="*/ 88 h 116"/>
                <a:gd name="T2" fmla="*/ 31 w 104"/>
                <a:gd name="T3" fmla="*/ 58 h 116"/>
                <a:gd name="T4" fmla="*/ 31 w 104"/>
                <a:gd name="T5" fmla="*/ 57 h 116"/>
                <a:gd name="T6" fmla="*/ 59 w 104"/>
                <a:gd name="T7" fmla="*/ 27 h 116"/>
                <a:gd name="T8" fmla="*/ 84 w 104"/>
                <a:gd name="T9" fmla="*/ 39 h 116"/>
                <a:gd name="T10" fmla="*/ 103 w 104"/>
                <a:gd name="T11" fmla="*/ 18 h 116"/>
                <a:gd name="T12" fmla="*/ 59 w 104"/>
                <a:gd name="T13" fmla="*/ 0 h 116"/>
                <a:gd name="T14" fmla="*/ 0 w 104"/>
                <a:gd name="T15" fmla="*/ 58 h 116"/>
                <a:gd name="T16" fmla="*/ 0 w 104"/>
                <a:gd name="T17" fmla="*/ 58 h 116"/>
                <a:gd name="T18" fmla="*/ 58 w 104"/>
                <a:gd name="T19" fmla="*/ 116 h 116"/>
                <a:gd name="T20" fmla="*/ 104 w 104"/>
                <a:gd name="T21" fmla="*/ 95 h 116"/>
                <a:gd name="T22" fmla="*/ 85 w 104"/>
                <a:gd name="T23" fmla="*/ 77 h 116"/>
                <a:gd name="T24" fmla="*/ 60 w 104"/>
                <a:gd name="T25" fmla="*/ 8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16">
                  <a:moveTo>
                    <a:pt x="60" y="88"/>
                  </a:moveTo>
                  <a:cubicBezTo>
                    <a:pt x="43" y="88"/>
                    <a:pt x="31" y="75"/>
                    <a:pt x="31" y="58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41"/>
                    <a:pt x="43" y="27"/>
                    <a:pt x="59" y="27"/>
                  </a:cubicBezTo>
                  <a:cubicBezTo>
                    <a:pt x="70" y="27"/>
                    <a:pt x="77" y="32"/>
                    <a:pt x="84" y="39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93" y="7"/>
                    <a:pt x="80" y="0"/>
                    <a:pt x="59" y="0"/>
                  </a:cubicBezTo>
                  <a:cubicBezTo>
                    <a:pt x="25" y="0"/>
                    <a:pt x="0" y="26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90"/>
                    <a:pt x="25" y="116"/>
                    <a:pt x="58" y="116"/>
                  </a:cubicBezTo>
                  <a:cubicBezTo>
                    <a:pt x="81" y="116"/>
                    <a:pt x="93" y="107"/>
                    <a:pt x="104" y="95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78" y="84"/>
                    <a:pt x="70" y="88"/>
                    <a:pt x="60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AB0A14F7-0064-4F42-996C-0538E0B79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" y="1739"/>
              <a:ext cx="392" cy="522"/>
            </a:xfrm>
            <a:custGeom>
              <a:avLst/>
              <a:gdLst>
                <a:gd name="T0" fmla="*/ 233 w 392"/>
                <a:gd name="T1" fmla="*/ 276 h 522"/>
                <a:gd name="T2" fmla="*/ 385 w 392"/>
                <a:gd name="T3" fmla="*/ 114 h 522"/>
                <a:gd name="T4" fmla="*/ 247 w 392"/>
                <a:gd name="T5" fmla="*/ 114 h 522"/>
                <a:gd name="T6" fmla="*/ 113 w 392"/>
                <a:gd name="T7" fmla="*/ 261 h 522"/>
                <a:gd name="T8" fmla="*/ 113 w 392"/>
                <a:gd name="T9" fmla="*/ 0 h 522"/>
                <a:gd name="T10" fmla="*/ 0 w 392"/>
                <a:gd name="T11" fmla="*/ 0 h 522"/>
                <a:gd name="T12" fmla="*/ 0 w 392"/>
                <a:gd name="T13" fmla="*/ 522 h 522"/>
                <a:gd name="T14" fmla="*/ 113 w 392"/>
                <a:gd name="T15" fmla="*/ 522 h 522"/>
                <a:gd name="T16" fmla="*/ 113 w 392"/>
                <a:gd name="T17" fmla="*/ 397 h 522"/>
                <a:gd name="T18" fmla="*/ 153 w 392"/>
                <a:gd name="T19" fmla="*/ 356 h 522"/>
                <a:gd name="T20" fmla="*/ 258 w 392"/>
                <a:gd name="T21" fmla="*/ 522 h 522"/>
                <a:gd name="T22" fmla="*/ 392 w 392"/>
                <a:gd name="T23" fmla="*/ 522 h 522"/>
                <a:gd name="T24" fmla="*/ 233 w 392"/>
                <a:gd name="T25" fmla="*/ 276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233" y="276"/>
                  </a:moveTo>
                  <a:lnTo>
                    <a:pt x="385" y="114"/>
                  </a:lnTo>
                  <a:lnTo>
                    <a:pt x="247" y="114"/>
                  </a:lnTo>
                  <a:lnTo>
                    <a:pt x="113" y="261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3" y="522"/>
                  </a:lnTo>
                  <a:lnTo>
                    <a:pt x="113" y="397"/>
                  </a:lnTo>
                  <a:lnTo>
                    <a:pt x="153" y="356"/>
                  </a:lnTo>
                  <a:lnTo>
                    <a:pt x="258" y="522"/>
                  </a:lnTo>
                  <a:lnTo>
                    <a:pt x="392" y="522"/>
                  </a:lnTo>
                  <a:lnTo>
                    <a:pt x="233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0A7B8410-FB1A-A94F-9F4D-29A4190C5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" y="1853"/>
              <a:ext cx="113" cy="408"/>
            </a:xfrm>
            <a:custGeom>
              <a:avLst/>
              <a:gdLst>
                <a:gd name="T0" fmla="*/ 0 w 113"/>
                <a:gd name="T1" fmla="*/ 408 h 408"/>
                <a:gd name="T2" fmla="*/ 113 w 113"/>
                <a:gd name="T3" fmla="*/ 408 h 408"/>
                <a:gd name="T4" fmla="*/ 113 w 113"/>
                <a:gd name="T5" fmla="*/ 0 h 408"/>
                <a:gd name="T6" fmla="*/ 0 w 113"/>
                <a:gd name="T7" fmla="*/ 114 h 408"/>
                <a:gd name="T8" fmla="*/ 0 w 113"/>
                <a:gd name="T9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08">
                  <a:moveTo>
                    <a:pt x="0" y="408"/>
                  </a:moveTo>
                  <a:lnTo>
                    <a:pt x="113" y="408"/>
                  </a:lnTo>
                  <a:lnTo>
                    <a:pt x="113" y="0"/>
                  </a:lnTo>
                  <a:lnTo>
                    <a:pt x="0" y="114"/>
                  </a:lnTo>
                  <a:lnTo>
                    <a:pt x="0" y="4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10">
              <a:extLst>
                <a:ext uri="{FF2B5EF4-FFF2-40B4-BE49-F238E27FC236}">
                  <a16:creationId xmlns:a16="http://schemas.microsoft.com/office/drawing/2014/main" id="{24D900B5-2333-9F4A-94F0-14950462F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6" y="1699"/>
              <a:ext cx="123" cy="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4529C71-B9AC-8C47-B8B5-DAF3523DE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" y="1739"/>
              <a:ext cx="789" cy="646"/>
            </a:xfrm>
            <a:custGeom>
              <a:avLst/>
              <a:gdLst>
                <a:gd name="T0" fmla="*/ 145 w 217"/>
                <a:gd name="T1" fmla="*/ 143 h 176"/>
                <a:gd name="T2" fmla="*/ 134 w 217"/>
                <a:gd name="T3" fmla="*/ 150 h 176"/>
                <a:gd name="T4" fmla="*/ 120 w 217"/>
                <a:gd name="T5" fmla="*/ 145 h 176"/>
                <a:gd name="T6" fmla="*/ 109 w 217"/>
                <a:gd name="T7" fmla="*/ 168 h 176"/>
                <a:gd name="T8" fmla="*/ 138 w 217"/>
                <a:gd name="T9" fmla="*/ 176 h 176"/>
                <a:gd name="T10" fmla="*/ 174 w 217"/>
                <a:gd name="T11" fmla="*/ 145 h 176"/>
                <a:gd name="T12" fmla="*/ 217 w 217"/>
                <a:gd name="T13" fmla="*/ 31 h 176"/>
                <a:gd name="T14" fmla="*/ 184 w 217"/>
                <a:gd name="T15" fmla="*/ 31 h 176"/>
                <a:gd name="T16" fmla="*/ 160 w 217"/>
                <a:gd name="T17" fmla="*/ 107 h 176"/>
                <a:gd name="T18" fmla="*/ 134 w 217"/>
                <a:gd name="T19" fmla="*/ 31 h 176"/>
                <a:gd name="T20" fmla="*/ 69 w 217"/>
                <a:gd name="T21" fmla="*/ 31 h 176"/>
                <a:gd name="T22" fmla="*/ 32 w 217"/>
                <a:gd name="T23" fmla="*/ 71 h 176"/>
                <a:gd name="T24" fmla="*/ 32 w 217"/>
                <a:gd name="T25" fmla="*/ 0 h 176"/>
                <a:gd name="T26" fmla="*/ 0 w 217"/>
                <a:gd name="T27" fmla="*/ 0 h 176"/>
                <a:gd name="T28" fmla="*/ 0 w 217"/>
                <a:gd name="T29" fmla="*/ 142 h 176"/>
                <a:gd name="T30" fmla="*/ 32 w 217"/>
                <a:gd name="T31" fmla="*/ 142 h 176"/>
                <a:gd name="T32" fmla="*/ 32 w 217"/>
                <a:gd name="T33" fmla="*/ 108 h 176"/>
                <a:gd name="T34" fmla="*/ 43 w 217"/>
                <a:gd name="T35" fmla="*/ 97 h 176"/>
                <a:gd name="T36" fmla="*/ 72 w 217"/>
                <a:gd name="T37" fmla="*/ 142 h 176"/>
                <a:gd name="T38" fmla="*/ 108 w 217"/>
                <a:gd name="T39" fmla="*/ 142 h 176"/>
                <a:gd name="T40" fmla="*/ 64 w 217"/>
                <a:gd name="T41" fmla="*/ 75 h 176"/>
                <a:gd name="T42" fmla="*/ 101 w 217"/>
                <a:gd name="T43" fmla="*/ 37 h 176"/>
                <a:gd name="T44" fmla="*/ 102 w 217"/>
                <a:gd name="T45" fmla="*/ 36 h 176"/>
                <a:gd name="T46" fmla="*/ 103 w 217"/>
                <a:gd name="T47" fmla="*/ 37 h 176"/>
                <a:gd name="T48" fmla="*/ 145 w 217"/>
                <a:gd name="T49" fmla="*/ 14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7" h="176">
                  <a:moveTo>
                    <a:pt x="145" y="143"/>
                  </a:moveTo>
                  <a:cubicBezTo>
                    <a:pt x="142" y="148"/>
                    <a:pt x="139" y="150"/>
                    <a:pt x="134" y="150"/>
                  </a:cubicBezTo>
                  <a:cubicBezTo>
                    <a:pt x="129" y="150"/>
                    <a:pt x="124" y="148"/>
                    <a:pt x="120" y="145"/>
                  </a:cubicBezTo>
                  <a:cubicBezTo>
                    <a:pt x="109" y="168"/>
                    <a:pt x="109" y="168"/>
                    <a:pt x="109" y="168"/>
                  </a:cubicBezTo>
                  <a:cubicBezTo>
                    <a:pt x="118" y="173"/>
                    <a:pt x="126" y="176"/>
                    <a:pt x="138" y="176"/>
                  </a:cubicBezTo>
                  <a:cubicBezTo>
                    <a:pt x="156" y="176"/>
                    <a:pt x="166" y="168"/>
                    <a:pt x="174" y="14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184" y="31"/>
                    <a:pt x="184" y="31"/>
                    <a:pt x="184" y="31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32" y="142"/>
                    <a:pt x="32" y="142"/>
                    <a:pt x="32" y="142"/>
                  </a:cubicBezTo>
                  <a:cubicBezTo>
                    <a:pt x="32" y="108"/>
                    <a:pt x="32" y="108"/>
                    <a:pt x="32" y="108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108" y="142"/>
                    <a:pt x="108" y="142"/>
                    <a:pt x="108" y="142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1" y="36"/>
                    <a:pt x="102" y="36"/>
                    <a:pt x="102" y="36"/>
                  </a:cubicBezTo>
                  <a:cubicBezTo>
                    <a:pt x="103" y="36"/>
                    <a:pt x="103" y="37"/>
                    <a:pt x="103" y="37"/>
                  </a:cubicBezTo>
                  <a:lnTo>
                    <a:pt x="145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7A5376A-60C5-7948-8205-84ABD84E761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74320" y="1377619"/>
            <a:ext cx="5351462" cy="455295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2000">
                <a:solidFill>
                  <a:schemeClr val="tx2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1143000" indent="-228600">
              <a:buFont typeface="Arial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defRPr sz="1600">
                <a:solidFill>
                  <a:schemeClr val="tx2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defRPr sz="1600">
                <a:solidFill>
                  <a:schemeClr val="tx2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BA8E49BA-D1D7-3B4E-AE3A-108C77536B7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57596" y="1377619"/>
            <a:ext cx="5351462" cy="455295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>
              <a:defRPr sz="2000">
                <a:solidFill>
                  <a:schemeClr val="tx2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1143000" indent="-228600">
              <a:buFont typeface="Arial" charset="0"/>
              <a:buChar char="•"/>
              <a:defRPr sz="1800">
                <a:solidFill>
                  <a:schemeClr val="tx2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>
              <a:defRPr sz="1600">
                <a:solidFill>
                  <a:schemeClr val="tx2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>
              <a:defRPr sz="1600">
                <a:solidFill>
                  <a:schemeClr val="tx2">
                    <a:lumMod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BA1FAC57-8D3A-504C-971D-096BF9EF39A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320" y="182880"/>
            <a:ext cx="11234738" cy="558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Icon&#10;&#10;Description automatically generated">
            <a:extLst>
              <a:ext uri="{FF2B5EF4-FFF2-40B4-BE49-F238E27FC236}">
                <a16:creationId xmlns:a16="http://schemas.microsoft.com/office/drawing/2014/main" id="{8B605D69-E922-4462-CC15-E21EE7827A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1225" y="62849"/>
            <a:ext cx="765357" cy="799052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965037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64A1742D-D860-3D42-AEFD-6C28B7A0991E}"/>
              </a:ext>
            </a:extLst>
          </p:cNvPr>
          <p:cNvSpPr/>
          <p:nvPr/>
        </p:nvSpPr>
        <p:spPr>
          <a:xfrm>
            <a:off x="0" y="6382398"/>
            <a:ext cx="12192000" cy="4756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5A2E642-37D7-CA40-95BC-A5050DC6CB80}"/>
              </a:ext>
            </a:extLst>
          </p:cNvPr>
          <p:cNvCxnSpPr/>
          <p:nvPr/>
        </p:nvCxnSpPr>
        <p:spPr>
          <a:xfrm>
            <a:off x="0" y="6382398"/>
            <a:ext cx="12192000" cy="0"/>
          </a:xfrm>
          <a:prstGeom prst="line">
            <a:avLst/>
          </a:prstGeom>
          <a:ln w="6350">
            <a:solidFill>
              <a:srgbClr val="E6E7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4">
            <a:extLst>
              <a:ext uri="{FF2B5EF4-FFF2-40B4-BE49-F238E27FC236}">
                <a16:creationId xmlns:a16="http://schemas.microsoft.com/office/drawing/2014/main" id="{26B7B811-66D3-474F-939B-AC28E4BB2D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169184" y="6527764"/>
            <a:ext cx="808504" cy="211935"/>
            <a:chOff x="2534" y="1699"/>
            <a:chExt cx="2617" cy="686"/>
          </a:xfrm>
          <a:solidFill>
            <a:srgbClr val="00AEFF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E65B3E25-4D75-4B4D-A779-5C41F5D1A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846"/>
              <a:ext cx="328" cy="422"/>
            </a:xfrm>
            <a:custGeom>
              <a:avLst/>
              <a:gdLst>
                <a:gd name="T0" fmla="*/ 56 w 90"/>
                <a:gd name="T1" fmla="*/ 46 h 115"/>
                <a:gd name="T2" fmla="*/ 34 w 90"/>
                <a:gd name="T3" fmla="*/ 32 h 115"/>
                <a:gd name="T4" fmla="*/ 34 w 90"/>
                <a:gd name="T5" fmla="*/ 32 h 115"/>
                <a:gd name="T6" fmla="*/ 45 w 90"/>
                <a:gd name="T7" fmla="*/ 24 h 115"/>
                <a:gd name="T8" fmla="*/ 75 w 90"/>
                <a:gd name="T9" fmla="*/ 35 h 115"/>
                <a:gd name="T10" fmla="*/ 88 w 90"/>
                <a:gd name="T11" fmla="*/ 13 h 115"/>
                <a:gd name="T12" fmla="*/ 46 w 90"/>
                <a:gd name="T13" fmla="*/ 0 h 115"/>
                <a:gd name="T14" fmla="*/ 5 w 90"/>
                <a:gd name="T15" fmla="*/ 35 h 115"/>
                <a:gd name="T16" fmla="*/ 5 w 90"/>
                <a:gd name="T17" fmla="*/ 36 h 115"/>
                <a:gd name="T18" fmla="*/ 38 w 90"/>
                <a:gd name="T19" fmla="*/ 69 h 115"/>
                <a:gd name="T20" fmla="*/ 62 w 90"/>
                <a:gd name="T21" fmla="*/ 82 h 115"/>
                <a:gd name="T22" fmla="*/ 62 w 90"/>
                <a:gd name="T23" fmla="*/ 83 h 115"/>
                <a:gd name="T24" fmla="*/ 48 w 90"/>
                <a:gd name="T25" fmla="*/ 91 h 115"/>
                <a:gd name="T26" fmla="*/ 13 w 90"/>
                <a:gd name="T27" fmla="*/ 78 h 115"/>
                <a:gd name="T28" fmla="*/ 0 w 90"/>
                <a:gd name="T29" fmla="*/ 98 h 115"/>
                <a:gd name="T30" fmla="*/ 47 w 90"/>
                <a:gd name="T31" fmla="*/ 115 h 115"/>
                <a:gd name="T32" fmla="*/ 90 w 90"/>
                <a:gd name="T33" fmla="*/ 79 h 115"/>
                <a:gd name="T34" fmla="*/ 90 w 90"/>
                <a:gd name="T35" fmla="*/ 79 h 115"/>
                <a:gd name="T36" fmla="*/ 56 w 90"/>
                <a:gd name="T37" fmla="*/ 4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115">
                  <a:moveTo>
                    <a:pt x="56" y="46"/>
                  </a:moveTo>
                  <a:cubicBezTo>
                    <a:pt x="44" y="42"/>
                    <a:pt x="34" y="39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28"/>
                    <a:pt x="38" y="24"/>
                    <a:pt x="45" y="24"/>
                  </a:cubicBezTo>
                  <a:cubicBezTo>
                    <a:pt x="53" y="24"/>
                    <a:pt x="64" y="28"/>
                    <a:pt x="75" y="35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75" y="5"/>
                    <a:pt x="60" y="0"/>
                    <a:pt x="46" y="0"/>
                  </a:cubicBezTo>
                  <a:cubicBezTo>
                    <a:pt x="23" y="0"/>
                    <a:pt x="5" y="13"/>
                    <a:pt x="5" y="35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57"/>
                    <a:pt x="23" y="65"/>
                    <a:pt x="38" y="69"/>
                  </a:cubicBezTo>
                  <a:cubicBezTo>
                    <a:pt x="51" y="73"/>
                    <a:pt x="62" y="75"/>
                    <a:pt x="62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8"/>
                    <a:pt x="57" y="91"/>
                    <a:pt x="48" y="91"/>
                  </a:cubicBezTo>
                  <a:cubicBezTo>
                    <a:pt x="38" y="91"/>
                    <a:pt x="25" y="86"/>
                    <a:pt x="13" y="7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4" y="110"/>
                    <a:pt x="32" y="115"/>
                    <a:pt x="47" y="115"/>
                  </a:cubicBezTo>
                  <a:cubicBezTo>
                    <a:pt x="72" y="115"/>
                    <a:pt x="90" y="104"/>
                    <a:pt x="90" y="79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58"/>
                    <a:pt x="72" y="51"/>
                    <a:pt x="5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164D114F-1701-7C43-B01B-B5A8BC9C82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4" y="1739"/>
              <a:ext cx="392" cy="522"/>
            </a:xfrm>
            <a:custGeom>
              <a:avLst/>
              <a:gdLst>
                <a:gd name="T0" fmla="*/ 389 w 392"/>
                <a:gd name="T1" fmla="*/ 114 h 522"/>
                <a:gd name="T2" fmla="*/ 251 w 392"/>
                <a:gd name="T3" fmla="*/ 114 h 522"/>
                <a:gd name="T4" fmla="*/ 116 w 392"/>
                <a:gd name="T5" fmla="*/ 261 h 522"/>
                <a:gd name="T6" fmla="*/ 116 w 392"/>
                <a:gd name="T7" fmla="*/ 0 h 522"/>
                <a:gd name="T8" fmla="*/ 0 w 392"/>
                <a:gd name="T9" fmla="*/ 0 h 522"/>
                <a:gd name="T10" fmla="*/ 0 w 392"/>
                <a:gd name="T11" fmla="*/ 522 h 522"/>
                <a:gd name="T12" fmla="*/ 116 w 392"/>
                <a:gd name="T13" fmla="*/ 522 h 522"/>
                <a:gd name="T14" fmla="*/ 116 w 392"/>
                <a:gd name="T15" fmla="*/ 397 h 522"/>
                <a:gd name="T16" fmla="*/ 156 w 392"/>
                <a:gd name="T17" fmla="*/ 356 h 522"/>
                <a:gd name="T18" fmla="*/ 262 w 392"/>
                <a:gd name="T19" fmla="*/ 522 h 522"/>
                <a:gd name="T20" fmla="*/ 392 w 392"/>
                <a:gd name="T21" fmla="*/ 522 h 522"/>
                <a:gd name="T22" fmla="*/ 233 w 392"/>
                <a:gd name="T23" fmla="*/ 276 h 522"/>
                <a:gd name="T24" fmla="*/ 389 w 392"/>
                <a:gd name="T25" fmla="*/ 114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389" y="114"/>
                  </a:moveTo>
                  <a:lnTo>
                    <a:pt x="251" y="114"/>
                  </a:lnTo>
                  <a:lnTo>
                    <a:pt x="116" y="261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6" y="522"/>
                  </a:lnTo>
                  <a:lnTo>
                    <a:pt x="116" y="397"/>
                  </a:lnTo>
                  <a:lnTo>
                    <a:pt x="156" y="356"/>
                  </a:lnTo>
                  <a:lnTo>
                    <a:pt x="262" y="522"/>
                  </a:lnTo>
                  <a:lnTo>
                    <a:pt x="392" y="522"/>
                  </a:lnTo>
                  <a:lnTo>
                    <a:pt x="233" y="276"/>
                  </a:lnTo>
                  <a:lnTo>
                    <a:pt x="389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1C721D96-50A2-E540-9270-68DB55063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1846"/>
              <a:ext cx="378" cy="426"/>
            </a:xfrm>
            <a:custGeom>
              <a:avLst/>
              <a:gdLst>
                <a:gd name="T0" fmla="*/ 60 w 104"/>
                <a:gd name="T1" fmla="*/ 88 h 116"/>
                <a:gd name="T2" fmla="*/ 31 w 104"/>
                <a:gd name="T3" fmla="*/ 58 h 116"/>
                <a:gd name="T4" fmla="*/ 31 w 104"/>
                <a:gd name="T5" fmla="*/ 57 h 116"/>
                <a:gd name="T6" fmla="*/ 59 w 104"/>
                <a:gd name="T7" fmla="*/ 27 h 116"/>
                <a:gd name="T8" fmla="*/ 84 w 104"/>
                <a:gd name="T9" fmla="*/ 39 h 116"/>
                <a:gd name="T10" fmla="*/ 103 w 104"/>
                <a:gd name="T11" fmla="*/ 18 h 116"/>
                <a:gd name="T12" fmla="*/ 59 w 104"/>
                <a:gd name="T13" fmla="*/ 0 h 116"/>
                <a:gd name="T14" fmla="*/ 0 w 104"/>
                <a:gd name="T15" fmla="*/ 58 h 116"/>
                <a:gd name="T16" fmla="*/ 0 w 104"/>
                <a:gd name="T17" fmla="*/ 58 h 116"/>
                <a:gd name="T18" fmla="*/ 58 w 104"/>
                <a:gd name="T19" fmla="*/ 116 h 116"/>
                <a:gd name="T20" fmla="*/ 104 w 104"/>
                <a:gd name="T21" fmla="*/ 95 h 116"/>
                <a:gd name="T22" fmla="*/ 85 w 104"/>
                <a:gd name="T23" fmla="*/ 77 h 116"/>
                <a:gd name="T24" fmla="*/ 60 w 104"/>
                <a:gd name="T25" fmla="*/ 8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16">
                  <a:moveTo>
                    <a:pt x="60" y="88"/>
                  </a:moveTo>
                  <a:cubicBezTo>
                    <a:pt x="43" y="88"/>
                    <a:pt x="31" y="75"/>
                    <a:pt x="31" y="58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41"/>
                    <a:pt x="43" y="27"/>
                    <a:pt x="59" y="27"/>
                  </a:cubicBezTo>
                  <a:cubicBezTo>
                    <a:pt x="70" y="27"/>
                    <a:pt x="77" y="32"/>
                    <a:pt x="84" y="39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93" y="7"/>
                    <a:pt x="80" y="0"/>
                    <a:pt x="59" y="0"/>
                  </a:cubicBezTo>
                  <a:cubicBezTo>
                    <a:pt x="25" y="0"/>
                    <a:pt x="0" y="26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90"/>
                    <a:pt x="25" y="116"/>
                    <a:pt x="58" y="116"/>
                  </a:cubicBezTo>
                  <a:cubicBezTo>
                    <a:pt x="81" y="116"/>
                    <a:pt x="93" y="107"/>
                    <a:pt x="104" y="95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78" y="84"/>
                    <a:pt x="70" y="88"/>
                    <a:pt x="60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AB0A14F7-0064-4F42-996C-0538E0B79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" y="1739"/>
              <a:ext cx="392" cy="522"/>
            </a:xfrm>
            <a:custGeom>
              <a:avLst/>
              <a:gdLst>
                <a:gd name="T0" fmla="*/ 233 w 392"/>
                <a:gd name="T1" fmla="*/ 276 h 522"/>
                <a:gd name="T2" fmla="*/ 385 w 392"/>
                <a:gd name="T3" fmla="*/ 114 h 522"/>
                <a:gd name="T4" fmla="*/ 247 w 392"/>
                <a:gd name="T5" fmla="*/ 114 h 522"/>
                <a:gd name="T6" fmla="*/ 113 w 392"/>
                <a:gd name="T7" fmla="*/ 261 h 522"/>
                <a:gd name="T8" fmla="*/ 113 w 392"/>
                <a:gd name="T9" fmla="*/ 0 h 522"/>
                <a:gd name="T10" fmla="*/ 0 w 392"/>
                <a:gd name="T11" fmla="*/ 0 h 522"/>
                <a:gd name="T12" fmla="*/ 0 w 392"/>
                <a:gd name="T13" fmla="*/ 522 h 522"/>
                <a:gd name="T14" fmla="*/ 113 w 392"/>
                <a:gd name="T15" fmla="*/ 522 h 522"/>
                <a:gd name="T16" fmla="*/ 113 w 392"/>
                <a:gd name="T17" fmla="*/ 397 h 522"/>
                <a:gd name="T18" fmla="*/ 153 w 392"/>
                <a:gd name="T19" fmla="*/ 356 h 522"/>
                <a:gd name="T20" fmla="*/ 258 w 392"/>
                <a:gd name="T21" fmla="*/ 522 h 522"/>
                <a:gd name="T22" fmla="*/ 392 w 392"/>
                <a:gd name="T23" fmla="*/ 522 h 522"/>
                <a:gd name="T24" fmla="*/ 233 w 392"/>
                <a:gd name="T25" fmla="*/ 276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233" y="276"/>
                  </a:moveTo>
                  <a:lnTo>
                    <a:pt x="385" y="114"/>
                  </a:lnTo>
                  <a:lnTo>
                    <a:pt x="247" y="114"/>
                  </a:lnTo>
                  <a:lnTo>
                    <a:pt x="113" y="261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3" y="522"/>
                  </a:lnTo>
                  <a:lnTo>
                    <a:pt x="113" y="397"/>
                  </a:lnTo>
                  <a:lnTo>
                    <a:pt x="153" y="356"/>
                  </a:lnTo>
                  <a:lnTo>
                    <a:pt x="258" y="522"/>
                  </a:lnTo>
                  <a:lnTo>
                    <a:pt x="392" y="522"/>
                  </a:lnTo>
                  <a:lnTo>
                    <a:pt x="233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0A7B8410-FB1A-A94F-9F4D-29A4190C5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6" y="1853"/>
              <a:ext cx="113" cy="408"/>
            </a:xfrm>
            <a:custGeom>
              <a:avLst/>
              <a:gdLst>
                <a:gd name="T0" fmla="*/ 0 w 113"/>
                <a:gd name="T1" fmla="*/ 408 h 408"/>
                <a:gd name="T2" fmla="*/ 113 w 113"/>
                <a:gd name="T3" fmla="*/ 408 h 408"/>
                <a:gd name="T4" fmla="*/ 113 w 113"/>
                <a:gd name="T5" fmla="*/ 0 h 408"/>
                <a:gd name="T6" fmla="*/ 0 w 113"/>
                <a:gd name="T7" fmla="*/ 114 h 408"/>
                <a:gd name="T8" fmla="*/ 0 w 113"/>
                <a:gd name="T9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08">
                  <a:moveTo>
                    <a:pt x="0" y="408"/>
                  </a:moveTo>
                  <a:lnTo>
                    <a:pt x="113" y="408"/>
                  </a:lnTo>
                  <a:lnTo>
                    <a:pt x="113" y="0"/>
                  </a:lnTo>
                  <a:lnTo>
                    <a:pt x="0" y="114"/>
                  </a:lnTo>
                  <a:lnTo>
                    <a:pt x="0" y="4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Oval 10">
              <a:extLst>
                <a:ext uri="{FF2B5EF4-FFF2-40B4-BE49-F238E27FC236}">
                  <a16:creationId xmlns:a16="http://schemas.microsoft.com/office/drawing/2014/main" id="{24D900B5-2333-9F4A-94F0-14950462F0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6" y="1699"/>
              <a:ext cx="123" cy="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4529C71-B9AC-8C47-B8B5-DAF3523DE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" y="1739"/>
              <a:ext cx="789" cy="646"/>
            </a:xfrm>
            <a:custGeom>
              <a:avLst/>
              <a:gdLst>
                <a:gd name="T0" fmla="*/ 145 w 217"/>
                <a:gd name="T1" fmla="*/ 143 h 176"/>
                <a:gd name="T2" fmla="*/ 134 w 217"/>
                <a:gd name="T3" fmla="*/ 150 h 176"/>
                <a:gd name="T4" fmla="*/ 120 w 217"/>
                <a:gd name="T5" fmla="*/ 145 h 176"/>
                <a:gd name="T6" fmla="*/ 109 w 217"/>
                <a:gd name="T7" fmla="*/ 168 h 176"/>
                <a:gd name="T8" fmla="*/ 138 w 217"/>
                <a:gd name="T9" fmla="*/ 176 h 176"/>
                <a:gd name="T10" fmla="*/ 174 w 217"/>
                <a:gd name="T11" fmla="*/ 145 h 176"/>
                <a:gd name="T12" fmla="*/ 217 w 217"/>
                <a:gd name="T13" fmla="*/ 31 h 176"/>
                <a:gd name="T14" fmla="*/ 184 w 217"/>
                <a:gd name="T15" fmla="*/ 31 h 176"/>
                <a:gd name="T16" fmla="*/ 160 w 217"/>
                <a:gd name="T17" fmla="*/ 107 h 176"/>
                <a:gd name="T18" fmla="*/ 134 w 217"/>
                <a:gd name="T19" fmla="*/ 31 h 176"/>
                <a:gd name="T20" fmla="*/ 69 w 217"/>
                <a:gd name="T21" fmla="*/ 31 h 176"/>
                <a:gd name="T22" fmla="*/ 32 w 217"/>
                <a:gd name="T23" fmla="*/ 71 h 176"/>
                <a:gd name="T24" fmla="*/ 32 w 217"/>
                <a:gd name="T25" fmla="*/ 0 h 176"/>
                <a:gd name="T26" fmla="*/ 0 w 217"/>
                <a:gd name="T27" fmla="*/ 0 h 176"/>
                <a:gd name="T28" fmla="*/ 0 w 217"/>
                <a:gd name="T29" fmla="*/ 142 h 176"/>
                <a:gd name="T30" fmla="*/ 32 w 217"/>
                <a:gd name="T31" fmla="*/ 142 h 176"/>
                <a:gd name="T32" fmla="*/ 32 w 217"/>
                <a:gd name="T33" fmla="*/ 108 h 176"/>
                <a:gd name="T34" fmla="*/ 43 w 217"/>
                <a:gd name="T35" fmla="*/ 97 h 176"/>
                <a:gd name="T36" fmla="*/ 72 w 217"/>
                <a:gd name="T37" fmla="*/ 142 h 176"/>
                <a:gd name="T38" fmla="*/ 108 w 217"/>
                <a:gd name="T39" fmla="*/ 142 h 176"/>
                <a:gd name="T40" fmla="*/ 64 w 217"/>
                <a:gd name="T41" fmla="*/ 75 h 176"/>
                <a:gd name="T42" fmla="*/ 101 w 217"/>
                <a:gd name="T43" fmla="*/ 37 h 176"/>
                <a:gd name="T44" fmla="*/ 102 w 217"/>
                <a:gd name="T45" fmla="*/ 36 h 176"/>
                <a:gd name="T46" fmla="*/ 103 w 217"/>
                <a:gd name="T47" fmla="*/ 37 h 176"/>
                <a:gd name="T48" fmla="*/ 145 w 217"/>
                <a:gd name="T49" fmla="*/ 14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7" h="176">
                  <a:moveTo>
                    <a:pt x="145" y="143"/>
                  </a:moveTo>
                  <a:cubicBezTo>
                    <a:pt x="142" y="148"/>
                    <a:pt x="139" y="150"/>
                    <a:pt x="134" y="150"/>
                  </a:cubicBezTo>
                  <a:cubicBezTo>
                    <a:pt x="129" y="150"/>
                    <a:pt x="124" y="148"/>
                    <a:pt x="120" y="145"/>
                  </a:cubicBezTo>
                  <a:cubicBezTo>
                    <a:pt x="109" y="168"/>
                    <a:pt x="109" y="168"/>
                    <a:pt x="109" y="168"/>
                  </a:cubicBezTo>
                  <a:cubicBezTo>
                    <a:pt x="118" y="173"/>
                    <a:pt x="126" y="176"/>
                    <a:pt x="138" y="176"/>
                  </a:cubicBezTo>
                  <a:cubicBezTo>
                    <a:pt x="156" y="176"/>
                    <a:pt x="166" y="168"/>
                    <a:pt x="174" y="14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184" y="31"/>
                    <a:pt x="184" y="31"/>
                    <a:pt x="184" y="31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32" y="142"/>
                    <a:pt x="32" y="142"/>
                    <a:pt x="32" y="142"/>
                  </a:cubicBezTo>
                  <a:cubicBezTo>
                    <a:pt x="32" y="108"/>
                    <a:pt x="32" y="108"/>
                    <a:pt x="32" y="108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108" y="142"/>
                    <a:pt x="108" y="142"/>
                    <a:pt x="108" y="142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1" y="36"/>
                    <a:pt x="102" y="36"/>
                    <a:pt x="102" y="36"/>
                  </a:cubicBezTo>
                  <a:cubicBezTo>
                    <a:pt x="103" y="36"/>
                    <a:pt x="103" y="37"/>
                    <a:pt x="103" y="37"/>
                  </a:cubicBezTo>
                  <a:lnTo>
                    <a:pt x="145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6F8CDA2-6253-6243-BC2A-71F44115B2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5731" y="271463"/>
            <a:ext cx="11234738" cy="558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7">
            <a:extLst>
              <a:ext uri="{FF2B5EF4-FFF2-40B4-BE49-F238E27FC236}">
                <a16:creationId xmlns:a16="http://schemas.microsoft.com/office/drawing/2014/main" id="{5AC32663-DB04-3243-AD30-0338A6D61B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3900" y="1209848"/>
            <a:ext cx="10744200" cy="406015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buClr>
                <a:srgbClr val="00AFFF"/>
              </a:buClr>
              <a:buNone/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lnSpc>
                <a:spcPct val="100000"/>
              </a:lnSpc>
              <a:buClr>
                <a:srgbClr val="00AFFF"/>
              </a:buCl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98789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customXml" Target="../../customXml/item86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customXml" Target="../../customXml/item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4">
            <a:alpha val="2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0AA8B2-68D4-4C11-94C4-FBE936FFE589}"/>
              </a:ext>
            </a:extLst>
          </p:cNvPr>
          <p:cNvGraphicFramePr>
            <a:graphicFrameLocks noChangeAspect="1"/>
          </p:cNvGraphicFramePr>
          <p:nvPr userDrawn="1">
            <p:custDataLst>
              <p:custData r:id="rId14"/>
              <p:custData r:id="rId15"/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282" imgH="282" progId="TCLayout.ActiveDocument.1">
                  <p:embed/>
                </p:oleObj>
              </mc:Choice>
              <mc:Fallback>
                <p:oleObj name="think-cell Slide" r:id="rId17" imgW="282" imgH="28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0AA8B2-68D4-4C11-94C4-FBE936FFE5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C4CE5D86-D68B-E041-9B72-B0E84B013F5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931333"/>
          </a:xfrm>
          <a:prstGeom prst="rect">
            <a:avLst/>
          </a:prstGeom>
        </p:spPr>
      </p:pic>
      <p:pic>
        <p:nvPicPr>
          <p:cNvPr id="3" name="Picture 2" descr="A picture containing plane, airplane, water, large&#10;&#10;Description automatically generated">
            <a:extLst>
              <a:ext uri="{FF2B5EF4-FFF2-40B4-BE49-F238E27FC236}">
                <a16:creationId xmlns:a16="http://schemas.microsoft.com/office/drawing/2014/main" id="{DD45246B-47F8-4BD5-9DCE-326BA095033A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07" b="50391"/>
          <a:stretch/>
        </p:blipFill>
        <p:spPr>
          <a:xfrm>
            <a:off x="0" y="0"/>
            <a:ext cx="12192000" cy="93133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53EEF5A4-F12F-1282-1937-F9CFF39A7EDE}"/>
              </a:ext>
            </a:extLst>
          </p:cNvPr>
          <p:cNvSpPr/>
          <p:nvPr userDrawn="1"/>
        </p:nvSpPr>
        <p:spPr>
          <a:xfrm>
            <a:off x="0" y="0"/>
            <a:ext cx="12192000" cy="918230"/>
          </a:xfrm>
          <a:prstGeom prst="rect">
            <a:avLst/>
          </a:prstGeom>
          <a:gradFill flip="none" rotWithShape="1">
            <a:gsLst>
              <a:gs pos="100000">
                <a:srgbClr val="0674DB"/>
              </a:gs>
              <a:gs pos="0">
                <a:srgbClr val="00AFFF"/>
              </a:gs>
            </a:gsLst>
            <a:lin ang="1302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466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37" r:id="rId2"/>
    <p:sldLayoutId id="2147483715" r:id="rId3"/>
    <p:sldLayoutId id="2147483738" r:id="rId4"/>
    <p:sldLayoutId id="2147483739" r:id="rId5"/>
    <p:sldLayoutId id="2147483740" r:id="rId6"/>
    <p:sldLayoutId id="2147483716" r:id="rId7"/>
    <p:sldLayoutId id="2147483718" r:id="rId8"/>
    <p:sldLayoutId id="2147483719" r:id="rId9"/>
    <p:sldLayoutId id="2147483733" r:id="rId10"/>
    <p:sldLayoutId id="2147483736" r:id="rId11"/>
    <p:sldLayoutId id="214748374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56">
          <p15:clr>
            <a:srgbClr val="A4A3A4"/>
          </p15:clr>
        </p15:guide>
        <p15:guide id="4" pos="7224">
          <p15:clr>
            <a:srgbClr val="F26B43"/>
          </p15:clr>
        </p15:guide>
        <p15:guide id="5" pos="2709">
          <p15:clr>
            <a:srgbClr val="A4A3A4"/>
          </p15:clr>
        </p15:guide>
        <p15:guide id="6" pos="4965">
          <p15:clr>
            <a:srgbClr val="F26B43"/>
          </p15:clr>
        </p15:guide>
        <p15:guide id="7" pos="2544">
          <p15:clr>
            <a:srgbClr val="F26B43"/>
          </p15:clr>
        </p15:guide>
        <p15:guide id="8" pos="5136">
          <p15:clr>
            <a:srgbClr val="F26B43"/>
          </p15:clr>
        </p15:guide>
        <p15:guide id="9" pos="2144">
          <p15:clr>
            <a:srgbClr val="5ACBF0"/>
          </p15:clr>
        </p15:guide>
        <p15:guide id="10" pos="5525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support.skykick.com/hc/en-us/categories/200451257-Cloud-Backup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kykick.com/support/get-support/" TargetMode="External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4" Type="http://schemas.openxmlformats.org/officeDocument/2006/relationships/hyperlink" Target="mailto:Support@skykick.com" TargetMode="Externa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image" Target="../media/image16.png"/><Relationship Id="rId7" Type="http://schemas.openxmlformats.org/officeDocument/2006/relationships/image" Target="../media/image5.png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svg"/><Relationship Id="rId11" Type="http://schemas.openxmlformats.org/officeDocument/2006/relationships/image" Target="../media/image23.png"/><Relationship Id="rId5" Type="http://schemas.openxmlformats.org/officeDocument/2006/relationships/image" Target="../media/image18.png"/><Relationship Id="rId10" Type="http://schemas.openxmlformats.org/officeDocument/2006/relationships/image" Target="../media/image22.png"/><Relationship Id="rId4" Type="http://schemas.openxmlformats.org/officeDocument/2006/relationships/image" Target="../media/image17.svg"/><Relationship Id="rId9" Type="http://schemas.openxmlformats.org/officeDocument/2006/relationships/image" Target="../media/image2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2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4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support.skykick.com/hc/en-us/articles/11878217248147-Cloud-Backup-subscription-creation-and-configuration-Updated-" TargetMode="External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031C19-76C0-451C-8C37-A431FB64BC5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-36740" y="2566044"/>
            <a:ext cx="3226116" cy="558800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b="1" dirty="0"/>
              <a:t>Introducing </a:t>
            </a:r>
          </a:p>
          <a:p>
            <a:pPr algn="ctr">
              <a:lnSpc>
                <a:spcPct val="100000"/>
              </a:lnSpc>
            </a:pPr>
            <a:r>
              <a:rPr lang="en-BE" b="1" dirty="0"/>
              <a:t>Intelligent Backup</a:t>
            </a:r>
            <a:endParaRPr lang="en-US" dirty="0"/>
          </a:p>
        </p:txBody>
      </p:sp>
      <p:pic>
        <p:nvPicPr>
          <p:cNvPr id="5" name="Picture 4" descr="A computer sitting on top of a table&#10;&#10;Description automatically generated">
            <a:extLst>
              <a:ext uri="{FF2B5EF4-FFF2-40B4-BE49-F238E27FC236}">
                <a16:creationId xmlns:a16="http://schemas.microsoft.com/office/drawing/2014/main" id="{7C46BA9D-26F8-479B-932A-F55654D5FA1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46" t="5093" r="21497" b="5093"/>
          <a:stretch/>
        </p:blipFill>
        <p:spPr>
          <a:xfrm>
            <a:off x="3538004" y="-136022"/>
            <a:ext cx="9516796" cy="6994022"/>
          </a:xfrm>
          <a:prstGeom prst="rect">
            <a:avLst/>
          </a:prstGeom>
        </p:spPr>
      </p:pic>
      <p:grpSp>
        <p:nvGrpSpPr>
          <p:cNvPr id="4" name="Group 4">
            <a:extLst>
              <a:ext uri="{FF2B5EF4-FFF2-40B4-BE49-F238E27FC236}">
                <a16:creationId xmlns:a16="http://schemas.microsoft.com/office/drawing/2014/main" id="{A34DE802-F5E7-56E5-54B5-D073432CE2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73179" y="156704"/>
            <a:ext cx="2267568" cy="594403"/>
            <a:chOff x="2534" y="1699"/>
            <a:chExt cx="2617" cy="686"/>
          </a:xfrm>
          <a:solidFill>
            <a:srgbClr val="00AEFF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5A7B51FD-63A7-35F4-AD15-55FE2D91AFA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34" y="1846"/>
              <a:ext cx="328" cy="422"/>
            </a:xfrm>
            <a:custGeom>
              <a:avLst/>
              <a:gdLst>
                <a:gd name="T0" fmla="*/ 56 w 90"/>
                <a:gd name="T1" fmla="*/ 46 h 115"/>
                <a:gd name="T2" fmla="*/ 34 w 90"/>
                <a:gd name="T3" fmla="*/ 32 h 115"/>
                <a:gd name="T4" fmla="*/ 34 w 90"/>
                <a:gd name="T5" fmla="*/ 32 h 115"/>
                <a:gd name="T6" fmla="*/ 45 w 90"/>
                <a:gd name="T7" fmla="*/ 24 h 115"/>
                <a:gd name="T8" fmla="*/ 75 w 90"/>
                <a:gd name="T9" fmla="*/ 35 h 115"/>
                <a:gd name="T10" fmla="*/ 88 w 90"/>
                <a:gd name="T11" fmla="*/ 13 h 115"/>
                <a:gd name="T12" fmla="*/ 46 w 90"/>
                <a:gd name="T13" fmla="*/ 0 h 115"/>
                <a:gd name="T14" fmla="*/ 5 w 90"/>
                <a:gd name="T15" fmla="*/ 35 h 115"/>
                <a:gd name="T16" fmla="*/ 5 w 90"/>
                <a:gd name="T17" fmla="*/ 36 h 115"/>
                <a:gd name="T18" fmla="*/ 38 w 90"/>
                <a:gd name="T19" fmla="*/ 69 h 115"/>
                <a:gd name="T20" fmla="*/ 62 w 90"/>
                <a:gd name="T21" fmla="*/ 82 h 115"/>
                <a:gd name="T22" fmla="*/ 62 w 90"/>
                <a:gd name="T23" fmla="*/ 83 h 115"/>
                <a:gd name="T24" fmla="*/ 48 w 90"/>
                <a:gd name="T25" fmla="*/ 91 h 115"/>
                <a:gd name="T26" fmla="*/ 13 w 90"/>
                <a:gd name="T27" fmla="*/ 78 h 115"/>
                <a:gd name="T28" fmla="*/ 0 w 90"/>
                <a:gd name="T29" fmla="*/ 98 h 115"/>
                <a:gd name="T30" fmla="*/ 47 w 90"/>
                <a:gd name="T31" fmla="*/ 115 h 115"/>
                <a:gd name="T32" fmla="*/ 90 w 90"/>
                <a:gd name="T33" fmla="*/ 79 h 115"/>
                <a:gd name="T34" fmla="*/ 90 w 90"/>
                <a:gd name="T35" fmla="*/ 79 h 115"/>
                <a:gd name="T36" fmla="*/ 56 w 90"/>
                <a:gd name="T37" fmla="*/ 46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0" h="115">
                  <a:moveTo>
                    <a:pt x="56" y="46"/>
                  </a:moveTo>
                  <a:cubicBezTo>
                    <a:pt x="44" y="42"/>
                    <a:pt x="34" y="39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28"/>
                    <a:pt x="38" y="24"/>
                    <a:pt x="45" y="24"/>
                  </a:cubicBezTo>
                  <a:cubicBezTo>
                    <a:pt x="53" y="24"/>
                    <a:pt x="64" y="28"/>
                    <a:pt x="75" y="35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75" y="5"/>
                    <a:pt x="60" y="0"/>
                    <a:pt x="46" y="0"/>
                  </a:cubicBezTo>
                  <a:cubicBezTo>
                    <a:pt x="23" y="0"/>
                    <a:pt x="5" y="13"/>
                    <a:pt x="5" y="35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57"/>
                    <a:pt x="23" y="65"/>
                    <a:pt x="38" y="69"/>
                  </a:cubicBezTo>
                  <a:cubicBezTo>
                    <a:pt x="51" y="73"/>
                    <a:pt x="62" y="75"/>
                    <a:pt x="62" y="82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8"/>
                    <a:pt x="57" y="91"/>
                    <a:pt x="48" y="91"/>
                  </a:cubicBezTo>
                  <a:cubicBezTo>
                    <a:pt x="38" y="91"/>
                    <a:pt x="25" y="86"/>
                    <a:pt x="13" y="7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14" y="110"/>
                    <a:pt x="32" y="115"/>
                    <a:pt x="47" y="115"/>
                  </a:cubicBezTo>
                  <a:cubicBezTo>
                    <a:pt x="72" y="115"/>
                    <a:pt x="90" y="104"/>
                    <a:pt x="90" y="79"/>
                  </a:cubicBezTo>
                  <a:cubicBezTo>
                    <a:pt x="90" y="79"/>
                    <a:pt x="90" y="79"/>
                    <a:pt x="90" y="79"/>
                  </a:cubicBezTo>
                  <a:cubicBezTo>
                    <a:pt x="90" y="58"/>
                    <a:pt x="72" y="51"/>
                    <a:pt x="5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08A0A498-960C-357B-5255-168DF99E34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4" y="1739"/>
              <a:ext cx="392" cy="522"/>
            </a:xfrm>
            <a:custGeom>
              <a:avLst/>
              <a:gdLst>
                <a:gd name="T0" fmla="*/ 389 w 392"/>
                <a:gd name="T1" fmla="*/ 114 h 522"/>
                <a:gd name="T2" fmla="*/ 251 w 392"/>
                <a:gd name="T3" fmla="*/ 114 h 522"/>
                <a:gd name="T4" fmla="*/ 116 w 392"/>
                <a:gd name="T5" fmla="*/ 261 h 522"/>
                <a:gd name="T6" fmla="*/ 116 w 392"/>
                <a:gd name="T7" fmla="*/ 0 h 522"/>
                <a:gd name="T8" fmla="*/ 0 w 392"/>
                <a:gd name="T9" fmla="*/ 0 h 522"/>
                <a:gd name="T10" fmla="*/ 0 w 392"/>
                <a:gd name="T11" fmla="*/ 522 h 522"/>
                <a:gd name="T12" fmla="*/ 116 w 392"/>
                <a:gd name="T13" fmla="*/ 522 h 522"/>
                <a:gd name="T14" fmla="*/ 116 w 392"/>
                <a:gd name="T15" fmla="*/ 397 h 522"/>
                <a:gd name="T16" fmla="*/ 156 w 392"/>
                <a:gd name="T17" fmla="*/ 356 h 522"/>
                <a:gd name="T18" fmla="*/ 262 w 392"/>
                <a:gd name="T19" fmla="*/ 522 h 522"/>
                <a:gd name="T20" fmla="*/ 392 w 392"/>
                <a:gd name="T21" fmla="*/ 522 h 522"/>
                <a:gd name="T22" fmla="*/ 233 w 392"/>
                <a:gd name="T23" fmla="*/ 276 h 522"/>
                <a:gd name="T24" fmla="*/ 389 w 392"/>
                <a:gd name="T25" fmla="*/ 114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389" y="114"/>
                  </a:moveTo>
                  <a:lnTo>
                    <a:pt x="251" y="114"/>
                  </a:lnTo>
                  <a:lnTo>
                    <a:pt x="116" y="261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6" y="522"/>
                  </a:lnTo>
                  <a:lnTo>
                    <a:pt x="116" y="397"/>
                  </a:lnTo>
                  <a:lnTo>
                    <a:pt x="156" y="356"/>
                  </a:lnTo>
                  <a:lnTo>
                    <a:pt x="262" y="522"/>
                  </a:lnTo>
                  <a:lnTo>
                    <a:pt x="392" y="522"/>
                  </a:lnTo>
                  <a:lnTo>
                    <a:pt x="233" y="276"/>
                  </a:lnTo>
                  <a:lnTo>
                    <a:pt x="389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F089E92B-A1BB-6564-CEF3-2ACF446930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34" y="1846"/>
              <a:ext cx="378" cy="426"/>
            </a:xfrm>
            <a:custGeom>
              <a:avLst/>
              <a:gdLst>
                <a:gd name="T0" fmla="*/ 60 w 104"/>
                <a:gd name="T1" fmla="*/ 88 h 116"/>
                <a:gd name="T2" fmla="*/ 31 w 104"/>
                <a:gd name="T3" fmla="*/ 58 h 116"/>
                <a:gd name="T4" fmla="*/ 31 w 104"/>
                <a:gd name="T5" fmla="*/ 57 h 116"/>
                <a:gd name="T6" fmla="*/ 59 w 104"/>
                <a:gd name="T7" fmla="*/ 27 h 116"/>
                <a:gd name="T8" fmla="*/ 84 w 104"/>
                <a:gd name="T9" fmla="*/ 39 h 116"/>
                <a:gd name="T10" fmla="*/ 103 w 104"/>
                <a:gd name="T11" fmla="*/ 18 h 116"/>
                <a:gd name="T12" fmla="*/ 59 w 104"/>
                <a:gd name="T13" fmla="*/ 0 h 116"/>
                <a:gd name="T14" fmla="*/ 0 w 104"/>
                <a:gd name="T15" fmla="*/ 58 h 116"/>
                <a:gd name="T16" fmla="*/ 0 w 104"/>
                <a:gd name="T17" fmla="*/ 58 h 116"/>
                <a:gd name="T18" fmla="*/ 58 w 104"/>
                <a:gd name="T19" fmla="*/ 116 h 116"/>
                <a:gd name="T20" fmla="*/ 104 w 104"/>
                <a:gd name="T21" fmla="*/ 95 h 116"/>
                <a:gd name="T22" fmla="*/ 85 w 104"/>
                <a:gd name="T23" fmla="*/ 77 h 116"/>
                <a:gd name="T24" fmla="*/ 60 w 104"/>
                <a:gd name="T25" fmla="*/ 8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4" h="116">
                  <a:moveTo>
                    <a:pt x="60" y="88"/>
                  </a:moveTo>
                  <a:cubicBezTo>
                    <a:pt x="43" y="88"/>
                    <a:pt x="31" y="75"/>
                    <a:pt x="31" y="58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41"/>
                    <a:pt x="43" y="27"/>
                    <a:pt x="59" y="27"/>
                  </a:cubicBezTo>
                  <a:cubicBezTo>
                    <a:pt x="70" y="27"/>
                    <a:pt x="77" y="32"/>
                    <a:pt x="84" y="39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93" y="7"/>
                    <a:pt x="80" y="0"/>
                    <a:pt x="59" y="0"/>
                  </a:cubicBezTo>
                  <a:cubicBezTo>
                    <a:pt x="25" y="0"/>
                    <a:pt x="0" y="26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90"/>
                    <a:pt x="25" y="116"/>
                    <a:pt x="58" y="116"/>
                  </a:cubicBezTo>
                  <a:cubicBezTo>
                    <a:pt x="81" y="116"/>
                    <a:pt x="93" y="107"/>
                    <a:pt x="104" y="95"/>
                  </a:cubicBezTo>
                  <a:cubicBezTo>
                    <a:pt x="85" y="77"/>
                    <a:pt x="85" y="77"/>
                    <a:pt x="85" y="77"/>
                  </a:cubicBezTo>
                  <a:cubicBezTo>
                    <a:pt x="78" y="84"/>
                    <a:pt x="70" y="88"/>
                    <a:pt x="60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032381A0-A90E-6A42-A440-055CBD3927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9" y="1739"/>
              <a:ext cx="392" cy="522"/>
            </a:xfrm>
            <a:custGeom>
              <a:avLst/>
              <a:gdLst>
                <a:gd name="T0" fmla="*/ 233 w 392"/>
                <a:gd name="T1" fmla="*/ 276 h 522"/>
                <a:gd name="T2" fmla="*/ 385 w 392"/>
                <a:gd name="T3" fmla="*/ 114 h 522"/>
                <a:gd name="T4" fmla="*/ 247 w 392"/>
                <a:gd name="T5" fmla="*/ 114 h 522"/>
                <a:gd name="T6" fmla="*/ 113 w 392"/>
                <a:gd name="T7" fmla="*/ 261 h 522"/>
                <a:gd name="T8" fmla="*/ 113 w 392"/>
                <a:gd name="T9" fmla="*/ 0 h 522"/>
                <a:gd name="T10" fmla="*/ 0 w 392"/>
                <a:gd name="T11" fmla="*/ 0 h 522"/>
                <a:gd name="T12" fmla="*/ 0 w 392"/>
                <a:gd name="T13" fmla="*/ 522 h 522"/>
                <a:gd name="T14" fmla="*/ 113 w 392"/>
                <a:gd name="T15" fmla="*/ 522 h 522"/>
                <a:gd name="T16" fmla="*/ 113 w 392"/>
                <a:gd name="T17" fmla="*/ 397 h 522"/>
                <a:gd name="T18" fmla="*/ 153 w 392"/>
                <a:gd name="T19" fmla="*/ 356 h 522"/>
                <a:gd name="T20" fmla="*/ 258 w 392"/>
                <a:gd name="T21" fmla="*/ 522 h 522"/>
                <a:gd name="T22" fmla="*/ 392 w 392"/>
                <a:gd name="T23" fmla="*/ 522 h 522"/>
                <a:gd name="T24" fmla="*/ 233 w 392"/>
                <a:gd name="T25" fmla="*/ 276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2" h="522">
                  <a:moveTo>
                    <a:pt x="233" y="276"/>
                  </a:moveTo>
                  <a:lnTo>
                    <a:pt x="385" y="114"/>
                  </a:lnTo>
                  <a:lnTo>
                    <a:pt x="247" y="114"/>
                  </a:lnTo>
                  <a:lnTo>
                    <a:pt x="113" y="261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522"/>
                  </a:lnTo>
                  <a:lnTo>
                    <a:pt x="113" y="522"/>
                  </a:lnTo>
                  <a:lnTo>
                    <a:pt x="113" y="397"/>
                  </a:lnTo>
                  <a:lnTo>
                    <a:pt x="153" y="356"/>
                  </a:lnTo>
                  <a:lnTo>
                    <a:pt x="258" y="522"/>
                  </a:lnTo>
                  <a:lnTo>
                    <a:pt x="392" y="522"/>
                  </a:lnTo>
                  <a:lnTo>
                    <a:pt x="233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>
              <a:extLst>
                <a:ext uri="{FF2B5EF4-FFF2-40B4-BE49-F238E27FC236}">
                  <a16:creationId xmlns:a16="http://schemas.microsoft.com/office/drawing/2014/main" id="{5625976D-DF5B-100A-F8A6-3B73F407F9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6" y="1853"/>
              <a:ext cx="113" cy="408"/>
            </a:xfrm>
            <a:custGeom>
              <a:avLst/>
              <a:gdLst>
                <a:gd name="T0" fmla="*/ 0 w 113"/>
                <a:gd name="T1" fmla="*/ 408 h 408"/>
                <a:gd name="T2" fmla="*/ 113 w 113"/>
                <a:gd name="T3" fmla="*/ 408 h 408"/>
                <a:gd name="T4" fmla="*/ 113 w 113"/>
                <a:gd name="T5" fmla="*/ 0 h 408"/>
                <a:gd name="T6" fmla="*/ 0 w 113"/>
                <a:gd name="T7" fmla="*/ 114 h 408"/>
                <a:gd name="T8" fmla="*/ 0 w 113"/>
                <a:gd name="T9" fmla="*/ 408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08">
                  <a:moveTo>
                    <a:pt x="0" y="408"/>
                  </a:moveTo>
                  <a:lnTo>
                    <a:pt x="113" y="408"/>
                  </a:lnTo>
                  <a:lnTo>
                    <a:pt x="113" y="0"/>
                  </a:lnTo>
                  <a:lnTo>
                    <a:pt x="0" y="114"/>
                  </a:lnTo>
                  <a:lnTo>
                    <a:pt x="0" y="4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Oval 10">
              <a:extLst>
                <a:ext uri="{FF2B5EF4-FFF2-40B4-BE49-F238E27FC236}">
                  <a16:creationId xmlns:a16="http://schemas.microsoft.com/office/drawing/2014/main" id="{737D430B-A88B-B1CB-D6AF-FFF9FDEA234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6" y="1699"/>
              <a:ext cx="123" cy="1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5B608DF2-752D-65BE-5E5D-0C1C0C0B83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916" y="1739"/>
              <a:ext cx="789" cy="646"/>
            </a:xfrm>
            <a:custGeom>
              <a:avLst/>
              <a:gdLst>
                <a:gd name="T0" fmla="*/ 145 w 217"/>
                <a:gd name="T1" fmla="*/ 143 h 176"/>
                <a:gd name="T2" fmla="*/ 134 w 217"/>
                <a:gd name="T3" fmla="*/ 150 h 176"/>
                <a:gd name="T4" fmla="*/ 120 w 217"/>
                <a:gd name="T5" fmla="*/ 145 h 176"/>
                <a:gd name="T6" fmla="*/ 109 w 217"/>
                <a:gd name="T7" fmla="*/ 168 h 176"/>
                <a:gd name="T8" fmla="*/ 138 w 217"/>
                <a:gd name="T9" fmla="*/ 176 h 176"/>
                <a:gd name="T10" fmla="*/ 174 w 217"/>
                <a:gd name="T11" fmla="*/ 145 h 176"/>
                <a:gd name="T12" fmla="*/ 217 w 217"/>
                <a:gd name="T13" fmla="*/ 31 h 176"/>
                <a:gd name="T14" fmla="*/ 184 w 217"/>
                <a:gd name="T15" fmla="*/ 31 h 176"/>
                <a:gd name="T16" fmla="*/ 160 w 217"/>
                <a:gd name="T17" fmla="*/ 107 h 176"/>
                <a:gd name="T18" fmla="*/ 134 w 217"/>
                <a:gd name="T19" fmla="*/ 31 h 176"/>
                <a:gd name="T20" fmla="*/ 69 w 217"/>
                <a:gd name="T21" fmla="*/ 31 h 176"/>
                <a:gd name="T22" fmla="*/ 32 w 217"/>
                <a:gd name="T23" fmla="*/ 71 h 176"/>
                <a:gd name="T24" fmla="*/ 32 w 217"/>
                <a:gd name="T25" fmla="*/ 0 h 176"/>
                <a:gd name="T26" fmla="*/ 0 w 217"/>
                <a:gd name="T27" fmla="*/ 0 h 176"/>
                <a:gd name="T28" fmla="*/ 0 w 217"/>
                <a:gd name="T29" fmla="*/ 142 h 176"/>
                <a:gd name="T30" fmla="*/ 32 w 217"/>
                <a:gd name="T31" fmla="*/ 142 h 176"/>
                <a:gd name="T32" fmla="*/ 32 w 217"/>
                <a:gd name="T33" fmla="*/ 108 h 176"/>
                <a:gd name="T34" fmla="*/ 43 w 217"/>
                <a:gd name="T35" fmla="*/ 97 h 176"/>
                <a:gd name="T36" fmla="*/ 72 w 217"/>
                <a:gd name="T37" fmla="*/ 142 h 176"/>
                <a:gd name="T38" fmla="*/ 108 w 217"/>
                <a:gd name="T39" fmla="*/ 142 h 176"/>
                <a:gd name="T40" fmla="*/ 64 w 217"/>
                <a:gd name="T41" fmla="*/ 75 h 176"/>
                <a:gd name="T42" fmla="*/ 101 w 217"/>
                <a:gd name="T43" fmla="*/ 37 h 176"/>
                <a:gd name="T44" fmla="*/ 102 w 217"/>
                <a:gd name="T45" fmla="*/ 36 h 176"/>
                <a:gd name="T46" fmla="*/ 103 w 217"/>
                <a:gd name="T47" fmla="*/ 37 h 176"/>
                <a:gd name="T48" fmla="*/ 145 w 217"/>
                <a:gd name="T49" fmla="*/ 14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7" h="176">
                  <a:moveTo>
                    <a:pt x="145" y="143"/>
                  </a:moveTo>
                  <a:cubicBezTo>
                    <a:pt x="142" y="148"/>
                    <a:pt x="139" y="150"/>
                    <a:pt x="134" y="150"/>
                  </a:cubicBezTo>
                  <a:cubicBezTo>
                    <a:pt x="129" y="150"/>
                    <a:pt x="124" y="148"/>
                    <a:pt x="120" y="145"/>
                  </a:cubicBezTo>
                  <a:cubicBezTo>
                    <a:pt x="109" y="168"/>
                    <a:pt x="109" y="168"/>
                    <a:pt x="109" y="168"/>
                  </a:cubicBezTo>
                  <a:cubicBezTo>
                    <a:pt x="118" y="173"/>
                    <a:pt x="126" y="176"/>
                    <a:pt x="138" y="176"/>
                  </a:cubicBezTo>
                  <a:cubicBezTo>
                    <a:pt x="156" y="176"/>
                    <a:pt x="166" y="168"/>
                    <a:pt x="174" y="14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184" y="31"/>
                    <a:pt x="184" y="31"/>
                    <a:pt x="184" y="31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32" y="142"/>
                    <a:pt x="32" y="142"/>
                    <a:pt x="32" y="142"/>
                  </a:cubicBezTo>
                  <a:cubicBezTo>
                    <a:pt x="32" y="108"/>
                    <a:pt x="32" y="108"/>
                    <a:pt x="32" y="108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72" y="142"/>
                    <a:pt x="72" y="142"/>
                    <a:pt x="72" y="142"/>
                  </a:cubicBezTo>
                  <a:cubicBezTo>
                    <a:pt x="108" y="142"/>
                    <a:pt x="108" y="142"/>
                    <a:pt x="108" y="142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1" y="36"/>
                    <a:pt x="102" y="36"/>
                    <a:pt x="102" y="36"/>
                  </a:cubicBezTo>
                  <a:cubicBezTo>
                    <a:pt x="103" y="36"/>
                    <a:pt x="103" y="37"/>
                    <a:pt x="103" y="37"/>
                  </a:cubicBezTo>
                  <a:lnTo>
                    <a:pt x="145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" name="Parallelogram 17">
            <a:extLst>
              <a:ext uri="{FF2B5EF4-FFF2-40B4-BE49-F238E27FC236}">
                <a16:creationId xmlns:a16="http://schemas.microsoft.com/office/drawing/2014/main" id="{FD16B224-4602-7F1C-17AB-602AE7D2CA28}"/>
              </a:ext>
            </a:extLst>
          </p:cNvPr>
          <p:cNvSpPr/>
          <p:nvPr/>
        </p:nvSpPr>
        <p:spPr>
          <a:xfrm>
            <a:off x="4038703" y="-135211"/>
            <a:ext cx="8035472" cy="6520110"/>
          </a:xfrm>
          <a:custGeom>
            <a:avLst/>
            <a:gdLst>
              <a:gd name="connsiteX0" fmla="*/ 0 w 2631517"/>
              <a:gd name="connsiteY0" fmla="*/ 2282510 h 2282510"/>
              <a:gd name="connsiteX1" fmla="*/ 570628 w 2631517"/>
              <a:gd name="connsiteY1" fmla="*/ 0 h 2282510"/>
              <a:gd name="connsiteX2" fmla="*/ 2631517 w 2631517"/>
              <a:gd name="connsiteY2" fmla="*/ 0 h 2282510"/>
              <a:gd name="connsiteX3" fmla="*/ 2060890 w 2631517"/>
              <a:gd name="connsiteY3" fmla="*/ 2282510 h 2282510"/>
              <a:gd name="connsiteX4" fmla="*/ 0 w 2631517"/>
              <a:gd name="connsiteY4" fmla="*/ 2282510 h 2282510"/>
              <a:gd name="connsiteX0" fmla="*/ 2493659 w 5125176"/>
              <a:gd name="connsiteY0" fmla="*/ 2282510 h 2282510"/>
              <a:gd name="connsiteX1" fmla="*/ 0 w 5125176"/>
              <a:gd name="connsiteY1" fmla="*/ 286187 h 2282510"/>
              <a:gd name="connsiteX2" fmla="*/ 5125176 w 5125176"/>
              <a:gd name="connsiteY2" fmla="*/ 0 h 2282510"/>
              <a:gd name="connsiteX3" fmla="*/ 4554549 w 5125176"/>
              <a:gd name="connsiteY3" fmla="*/ 2282510 h 2282510"/>
              <a:gd name="connsiteX4" fmla="*/ 2493659 w 5125176"/>
              <a:gd name="connsiteY4" fmla="*/ 2282510 h 2282510"/>
              <a:gd name="connsiteX0" fmla="*/ 2493659 w 6695710"/>
              <a:gd name="connsiteY0" fmla="*/ 3420275 h 3420275"/>
              <a:gd name="connsiteX1" fmla="*/ 0 w 6695710"/>
              <a:gd name="connsiteY1" fmla="*/ 1423952 h 3420275"/>
              <a:gd name="connsiteX2" fmla="*/ 6695710 w 6695710"/>
              <a:gd name="connsiteY2" fmla="*/ 0 h 3420275"/>
              <a:gd name="connsiteX3" fmla="*/ 4554549 w 6695710"/>
              <a:gd name="connsiteY3" fmla="*/ 3420275 h 3420275"/>
              <a:gd name="connsiteX4" fmla="*/ 2493659 w 6695710"/>
              <a:gd name="connsiteY4" fmla="*/ 3420275 h 3420275"/>
              <a:gd name="connsiteX0" fmla="*/ 2493659 w 7318689"/>
              <a:gd name="connsiteY0" fmla="*/ 3420275 h 4285813"/>
              <a:gd name="connsiteX1" fmla="*/ 0 w 7318689"/>
              <a:gd name="connsiteY1" fmla="*/ 1423952 h 4285813"/>
              <a:gd name="connsiteX2" fmla="*/ 6695710 w 7318689"/>
              <a:gd name="connsiteY2" fmla="*/ 0 h 4285813"/>
              <a:gd name="connsiteX3" fmla="*/ 7318689 w 7318689"/>
              <a:gd name="connsiteY3" fmla="*/ 4285813 h 4285813"/>
              <a:gd name="connsiteX4" fmla="*/ 2493659 w 7318689"/>
              <a:gd name="connsiteY4" fmla="*/ 3420275 h 4285813"/>
              <a:gd name="connsiteX0" fmla="*/ 999906 w 7318689"/>
              <a:gd name="connsiteY0" fmla="*/ 5961050 h 5961050"/>
              <a:gd name="connsiteX1" fmla="*/ 0 w 7318689"/>
              <a:gd name="connsiteY1" fmla="*/ 1423952 h 5961050"/>
              <a:gd name="connsiteX2" fmla="*/ 6695710 w 7318689"/>
              <a:gd name="connsiteY2" fmla="*/ 0 h 5961050"/>
              <a:gd name="connsiteX3" fmla="*/ 7318689 w 7318689"/>
              <a:gd name="connsiteY3" fmla="*/ 4285813 h 5961050"/>
              <a:gd name="connsiteX4" fmla="*/ 999906 w 7318689"/>
              <a:gd name="connsiteY4" fmla="*/ 5961050 h 596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18689" h="5961050">
                <a:moveTo>
                  <a:pt x="999906" y="5961050"/>
                </a:moveTo>
                <a:lnTo>
                  <a:pt x="0" y="1423952"/>
                </a:lnTo>
                <a:lnTo>
                  <a:pt x="6695710" y="0"/>
                </a:lnTo>
                <a:lnTo>
                  <a:pt x="7318689" y="4285813"/>
                </a:lnTo>
                <a:lnTo>
                  <a:pt x="999906" y="596105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D364B25-F926-7265-EA05-FE9B9F611D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20835018">
            <a:off x="4754759" y="891022"/>
            <a:ext cx="6786848" cy="3994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692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8005"/>
    </mc:Choice>
    <mc:Fallback xmlns="">
      <p:transition spd="slow" advTm="8005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Select users individually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FC36C9-AE65-8416-0638-40734DB396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050202"/>
            <a:ext cx="7112457" cy="519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41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Select users by group membership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89EC7D7-4290-4AE9-2E81-C7F6E54954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060165"/>
            <a:ext cx="8670511" cy="513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98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Select users by group membership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B76568-BAA2-5E02-F7F4-ABD27BFEEB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105118"/>
            <a:ext cx="8421715" cy="5047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834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Select Public Folders for prote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0EEF72F-AFEA-8554-E2E9-FB0AE77E7F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684201"/>
            <a:ext cx="10607644" cy="1867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33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Select Microsoft 365 Teams and group data for prote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988EAF5-DE73-5940-93A7-4EB39E0FF8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038528"/>
            <a:ext cx="8449294" cy="5098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71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Configure the subscrip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B7E15B-C4DE-F87C-41BE-64B74B3996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055638"/>
            <a:ext cx="6390440" cy="5146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723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Protect newly discovered resourc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DE03052-2159-81F3-07A8-80D79555B7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234761"/>
            <a:ext cx="4698705" cy="315642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40E4203-49B0-6004-83F8-8000E2724F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1234760"/>
            <a:ext cx="4905154" cy="3156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063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Configure data reten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149FF6-72B7-4355-040C-8FF9C0227A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378531"/>
            <a:ext cx="3835935" cy="8973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0F8567F-6C2C-4CCB-15CE-33E69592B4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8505" y="1378531"/>
            <a:ext cx="3631622" cy="3721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16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Select storage lo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F0DA87-A594-F36E-216E-F46335A69B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231271"/>
            <a:ext cx="6949737" cy="3723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0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Select a pla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04A300-DFB7-78B7-FE31-8E89C0575E3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158843"/>
            <a:ext cx="9171434" cy="4808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558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5EF1C31-DC1A-47B1-AB64-9C1B2D2DBD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661" y="1645920"/>
            <a:ext cx="2652636" cy="731520"/>
          </a:xfrm>
        </p:spPr>
        <p:txBody>
          <a:bodyPr/>
          <a:lstStyle/>
          <a:p>
            <a:r>
              <a:rPr lang="en-US" noProof="0"/>
              <a:t>Agenda</a:t>
            </a:r>
          </a:p>
        </p:txBody>
      </p:sp>
      <p:sp>
        <p:nvSpPr>
          <p:cNvPr id="8" name="Rounded Rectangle 35">
            <a:extLst>
              <a:ext uri="{FF2B5EF4-FFF2-40B4-BE49-F238E27FC236}">
                <a16:creationId xmlns:a16="http://schemas.microsoft.com/office/drawing/2014/main" id="{1B3E554C-78DB-484F-B949-9EE0EEE5FA62}"/>
              </a:ext>
            </a:extLst>
          </p:cNvPr>
          <p:cNvSpPr/>
          <p:nvPr/>
        </p:nvSpPr>
        <p:spPr>
          <a:xfrm>
            <a:off x="3672423" y="559981"/>
            <a:ext cx="8245909" cy="5835714"/>
          </a:xfrm>
          <a:prstGeom prst="roundRect">
            <a:avLst>
              <a:gd name="adj" fmla="val 906"/>
            </a:avLst>
          </a:prstGeom>
          <a:solidFill>
            <a:schemeClr val="bg1"/>
          </a:solidFill>
          <a:ln>
            <a:solidFill>
              <a:srgbClr val="E1E4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0" tIns="45720" rIns="91440" bIns="4572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="1">
              <a:solidFill>
                <a:srgbClr val="000000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="1">
              <a:solidFill>
                <a:srgbClr val="000000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b="1">
              <a:solidFill>
                <a:srgbClr val="000000"/>
              </a:solidFill>
              <a:latin typeface="Calibri" panose="020F05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sz="24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graphicFrame>
        <p:nvGraphicFramePr>
          <p:cNvPr id="11" name="Table 37">
            <a:extLst>
              <a:ext uri="{FF2B5EF4-FFF2-40B4-BE49-F238E27FC236}">
                <a16:creationId xmlns:a16="http://schemas.microsoft.com/office/drawing/2014/main" id="{68F40590-1829-C1B0-0611-5AD83D100D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7548995"/>
              </p:ext>
            </p:extLst>
          </p:nvPr>
        </p:nvGraphicFramePr>
        <p:xfrm>
          <a:off x="4141074" y="1188758"/>
          <a:ext cx="4706938" cy="512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06938">
                  <a:extLst>
                    <a:ext uri="{9D8B030D-6E8A-4147-A177-3AD203B41FA5}">
                      <a16:colId xmlns:a16="http://schemas.microsoft.com/office/drawing/2014/main" val="421724612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85750" indent="-285750" algn="l">
                        <a:buSzPct val="150000"/>
                        <a:buFontTx/>
                        <a:buBlip>
                          <a:blip r:embed="rId3"/>
                        </a:buBlip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n-lt"/>
                        </a:rPr>
                        <a:t>SkyKick Overview</a:t>
                      </a:r>
                    </a:p>
                    <a:p>
                      <a:pPr marL="0" indent="0">
                        <a:buSzPct val="125000"/>
                        <a:buFontTx/>
                        <a:buNone/>
                      </a:pPr>
                      <a:endParaRPr lang="en-US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SzPct val="150000"/>
                        <a:buFontTx/>
                        <a:buBlip>
                          <a:blip r:embed="rId3"/>
                        </a:buBlip>
                      </a:pPr>
                      <a:r>
                        <a:rPr lang="en-US" b="1" dirty="0">
                          <a:solidFill>
                            <a:srgbClr val="000000"/>
                          </a:solidFill>
                          <a:latin typeface="+mn-lt"/>
                        </a:rPr>
                        <a:t>SkyKick Backup Overview</a:t>
                      </a:r>
                    </a:p>
                    <a:p>
                      <a:pPr marL="0" indent="0">
                        <a:buSzPct val="125000"/>
                        <a:buFontTx/>
                        <a:buNone/>
                      </a:pPr>
                      <a:endParaRPr lang="en-US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150000"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lang="en-US" b="1" dirty="0">
                          <a:solidFill>
                            <a:srgbClr val="000000"/>
                          </a:solidFill>
                          <a:latin typeface="+mn-lt"/>
                        </a:rPr>
                        <a:t>Demo</a:t>
                      </a:r>
                    </a:p>
                    <a:p>
                      <a:pPr marL="742950" lvl="1" indent="-285750">
                        <a:buSzPct val="150000"/>
                        <a:buFontTx/>
                        <a:buBlip>
                          <a:blip r:embed="rId3"/>
                        </a:buBlip>
                      </a:pPr>
                      <a:endParaRPr lang="en-BE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742950" lvl="1" indent="-285750">
                        <a:buSzPct val="150000"/>
                        <a:buFontTx/>
                        <a:buBlip>
                          <a:blip r:embed="rId3"/>
                        </a:buBlip>
                      </a:pPr>
                      <a:r>
                        <a:rPr lang="en-BE" b="1" dirty="0">
                          <a:solidFill>
                            <a:srgbClr val="000000"/>
                          </a:solidFill>
                          <a:latin typeface="+mn-lt"/>
                        </a:rPr>
                        <a:t>Setup SkyKick Cloud Backup</a:t>
                      </a:r>
                    </a:p>
                    <a:p>
                      <a:pPr marL="457200" lvl="1" indent="0">
                        <a:buSzPct val="150000"/>
                        <a:buFontTx/>
                        <a:buNone/>
                      </a:pPr>
                      <a:endParaRPr lang="en-BE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742950" lvl="1" indent="-285750">
                        <a:buSzPct val="150000"/>
                        <a:buFontTx/>
                        <a:buBlip>
                          <a:blip r:embed="rId3"/>
                        </a:buBlip>
                      </a:pPr>
                      <a:r>
                        <a:rPr lang="en-US" b="1" dirty="0">
                          <a:solidFill>
                            <a:srgbClr val="000000"/>
                          </a:solidFill>
                          <a:latin typeface="+mn-lt"/>
                        </a:rPr>
                        <a:t>Cloud Backup </a:t>
                      </a:r>
                      <a:r>
                        <a:rPr lang="en-BE" b="1" dirty="0">
                          <a:solidFill>
                            <a:srgbClr val="000000"/>
                          </a:solidFill>
                          <a:latin typeface="+mn-lt"/>
                        </a:rPr>
                        <a:t>Branded Services</a:t>
                      </a:r>
                    </a:p>
                    <a:p>
                      <a:pPr marL="457200" lvl="1" indent="0">
                        <a:buSzPct val="150000"/>
                        <a:buFontTx/>
                        <a:buNone/>
                      </a:pPr>
                      <a:endParaRPr lang="en-BE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742950" lvl="1" indent="-285750">
                        <a:buSzPct val="150000"/>
                        <a:buFontTx/>
                        <a:buBlip>
                          <a:blip r:embed="rId3"/>
                        </a:buBlip>
                      </a:pPr>
                      <a:r>
                        <a:rPr lang="en-BE" sz="18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Monitoring and Alert Notifications</a:t>
                      </a:r>
                      <a:endParaRPr lang="en-BE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742950" lvl="1" indent="-285750">
                        <a:buSzPct val="150000"/>
                        <a:buFontTx/>
                        <a:buBlip>
                          <a:blip r:embed="rId3"/>
                        </a:buBlip>
                      </a:pPr>
                      <a:endParaRPr lang="en-BE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742950" lvl="1" indent="-285750">
                        <a:buSzPct val="150000"/>
                        <a:buFontTx/>
                        <a:buBlip>
                          <a:blip r:embed="rId3"/>
                        </a:buBlip>
                      </a:pPr>
                      <a:r>
                        <a:rPr lang="en-US" sz="18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SkyKick Intelligent Backup</a:t>
                      </a:r>
                      <a:r>
                        <a:rPr lang="en-BE" sz="1800" b="1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 what’s New</a:t>
                      </a:r>
                    </a:p>
                    <a:p>
                      <a:pPr marL="0" indent="0">
                        <a:buSzPct val="125000"/>
                        <a:buFontTx/>
                        <a:buNone/>
                      </a:pPr>
                      <a:endParaRPr lang="en-US" sz="1800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285750" indent="-285750">
                        <a:buSzPct val="150000"/>
                        <a:buFontTx/>
                        <a:buBlip>
                          <a:blip r:embed="rId3"/>
                        </a:buBlip>
                      </a:pPr>
                      <a:r>
                        <a:rPr lang="en-US" b="1" dirty="0">
                          <a:solidFill>
                            <a:srgbClr val="000000"/>
                          </a:solidFill>
                          <a:latin typeface="+mn-lt"/>
                        </a:rPr>
                        <a:t>SkyKick Resources</a:t>
                      </a:r>
                    </a:p>
                    <a:p>
                      <a:pPr marL="285750" indent="-285750">
                        <a:buSzPct val="125000"/>
                        <a:buFontTx/>
                        <a:buBlip>
                          <a:blip r:embed="rId3"/>
                        </a:buBlip>
                      </a:pPr>
                      <a:endParaRPr lang="en-US" sz="1800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285750" indent="-285750">
                        <a:buSzPct val="150000"/>
                        <a:buFontTx/>
                        <a:buBlip>
                          <a:blip r:embed="rId3"/>
                        </a:buBlip>
                      </a:pPr>
                      <a:r>
                        <a:rPr lang="en-US" b="1" dirty="0">
                          <a:solidFill>
                            <a:srgbClr val="000000"/>
                          </a:solidFill>
                          <a:latin typeface="+mn-lt"/>
                        </a:rPr>
                        <a:t>Q &amp; A</a:t>
                      </a:r>
                      <a:endParaRPr lang="en-NL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468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5982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SzPct val="150000"/>
                        <a:buFontTx/>
                        <a:buNone/>
                      </a:pPr>
                      <a:endParaRPr lang="en-NL" sz="1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T="4680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33800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9992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4301"/>
    </mc:Choice>
    <mc:Fallback xmlns="">
      <p:transition spd="slow" advTm="14301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Review order and complete purchas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19317B-6089-B776-D2BF-6196987F5B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7518" y="1023776"/>
            <a:ext cx="3549344" cy="53098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82F96DC-88A3-C3BC-FBE6-D822D5D3A3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49538" y="2391246"/>
            <a:ext cx="2832787" cy="2075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78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20EE915-4005-478A-F901-F48B2EF36E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BE" dirty="0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33752038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DF0D043-B85F-D174-11B0-D6F1A646564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320" y="191441"/>
            <a:ext cx="11234738" cy="824560"/>
          </a:xfrm>
        </p:spPr>
        <p:txBody>
          <a:bodyPr>
            <a:normAutofit/>
          </a:bodyPr>
          <a:lstStyle/>
          <a:p>
            <a:r>
              <a:rPr lang="en-US" sz="2800" dirty="0"/>
              <a:t>In a nutshell: The key differences to the previous Skykick Cloud Backup!</a:t>
            </a:r>
            <a:endParaRPr lang="en-NL" sz="28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6F31E52-9E83-ECBB-7600-300D34DDF3B2}"/>
              </a:ext>
            </a:extLst>
          </p:cNvPr>
          <p:cNvGrpSpPr/>
          <p:nvPr/>
        </p:nvGrpSpPr>
        <p:grpSpPr>
          <a:xfrm>
            <a:off x="6798734" y="1964226"/>
            <a:ext cx="281688" cy="245533"/>
            <a:chOff x="391325" y="4595914"/>
            <a:chExt cx="248585" cy="248585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793051F5-CB6D-D738-3B00-2BD2429519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25" y="4595914"/>
              <a:ext cx="248585" cy="248585"/>
            </a:xfrm>
            <a:custGeom>
              <a:avLst/>
              <a:gdLst>
                <a:gd name="T0" fmla="*/ 319 w 319"/>
                <a:gd name="T1" fmla="*/ 159 h 319"/>
                <a:gd name="T2" fmla="*/ 319 w 319"/>
                <a:gd name="T3" fmla="*/ 159 h 319"/>
                <a:gd name="T4" fmla="*/ 160 w 319"/>
                <a:gd name="T5" fmla="*/ 319 h 319"/>
                <a:gd name="T6" fmla="*/ 0 w 319"/>
                <a:gd name="T7" fmla="*/ 159 h 319"/>
                <a:gd name="T8" fmla="*/ 160 w 319"/>
                <a:gd name="T9" fmla="*/ 0 h 319"/>
                <a:gd name="T10" fmla="*/ 319 w 319"/>
                <a:gd name="T11" fmla="*/ 15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9" h="319">
                  <a:moveTo>
                    <a:pt x="319" y="159"/>
                  </a:moveTo>
                  <a:lnTo>
                    <a:pt x="319" y="159"/>
                  </a:lnTo>
                  <a:cubicBezTo>
                    <a:pt x="319" y="247"/>
                    <a:pt x="248" y="319"/>
                    <a:pt x="160" y="319"/>
                  </a:cubicBezTo>
                  <a:cubicBezTo>
                    <a:pt x="71" y="319"/>
                    <a:pt x="0" y="247"/>
                    <a:pt x="0" y="159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248" y="0"/>
                    <a:pt x="319" y="70"/>
                    <a:pt x="319" y="159"/>
                  </a:cubicBezTo>
                  <a:close/>
                </a:path>
              </a:pathLst>
            </a:custGeom>
            <a:solidFill>
              <a:srgbClr val="00ADFF"/>
            </a:solidFill>
            <a:ln w="0">
              <a:solidFill>
                <a:srgbClr val="00ADFF"/>
              </a:solidFill>
              <a:prstDash val="solid"/>
              <a:round/>
              <a:headEnd/>
              <a:tailEnd/>
            </a:ln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6">
                <a:defRPr/>
              </a:pPr>
              <a:endParaRPr lang="en-DE" kern="0">
                <a:solidFill>
                  <a:srgbClr val="000000"/>
                </a:solidFill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E499C8F5-2CF6-21CD-5104-ADC3D2374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42" y="4689511"/>
              <a:ext cx="108693" cy="77494"/>
            </a:xfrm>
            <a:custGeom>
              <a:avLst/>
              <a:gdLst>
                <a:gd name="T0" fmla="*/ 139 w 139"/>
                <a:gd name="T1" fmla="*/ 0 h 100"/>
                <a:gd name="T2" fmla="*/ 139 w 139"/>
                <a:gd name="T3" fmla="*/ 0 h 100"/>
                <a:gd name="T4" fmla="*/ 38 w 139"/>
                <a:gd name="T5" fmla="*/ 100 h 100"/>
                <a:gd name="T6" fmla="*/ 0 w 139"/>
                <a:gd name="T7" fmla="*/ 6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00">
                  <a:moveTo>
                    <a:pt x="139" y="0"/>
                  </a:moveTo>
                  <a:lnTo>
                    <a:pt x="139" y="0"/>
                  </a:lnTo>
                  <a:lnTo>
                    <a:pt x="38" y="100"/>
                  </a:lnTo>
                  <a:lnTo>
                    <a:pt x="0" y="62"/>
                  </a:lnTo>
                </a:path>
              </a:pathLst>
            </a:custGeom>
            <a:noFill/>
            <a:ln w="3175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6"/>
              <a:endParaRPr lang="en-DE">
                <a:solidFill>
                  <a:srgbClr val="000000"/>
                </a:solidFill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8E733F5-8962-BC10-1C57-10EEB61F69AA}"/>
              </a:ext>
            </a:extLst>
          </p:cNvPr>
          <p:cNvGrpSpPr/>
          <p:nvPr/>
        </p:nvGrpSpPr>
        <p:grpSpPr>
          <a:xfrm>
            <a:off x="6794260" y="2607347"/>
            <a:ext cx="281688" cy="245533"/>
            <a:chOff x="391325" y="4595914"/>
            <a:chExt cx="248585" cy="248585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77C1BF70-FEEF-3A9B-C778-B6A107A03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25" y="4595914"/>
              <a:ext cx="248585" cy="248585"/>
            </a:xfrm>
            <a:custGeom>
              <a:avLst/>
              <a:gdLst>
                <a:gd name="T0" fmla="*/ 319 w 319"/>
                <a:gd name="T1" fmla="*/ 159 h 319"/>
                <a:gd name="T2" fmla="*/ 319 w 319"/>
                <a:gd name="T3" fmla="*/ 159 h 319"/>
                <a:gd name="T4" fmla="*/ 160 w 319"/>
                <a:gd name="T5" fmla="*/ 319 h 319"/>
                <a:gd name="T6" fmla="*/ 0 w 319"/>
                <a:gd name="T7" fmla="*/ 159 h 319"/>
                <a:gd name="T8" fmla="*/ 160 w 319"/>
                <a:gd name="T9" fmla="*/ 0 h 319"/>
                <a:gd name="T10" fmla="*/ 319 w 319"/>
                <a:gd name="T11" fmla="*/ 15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9" h="319">
                  <a:moveTo>
                    <a:pt x="319" y="159"/>
                  </a:moveTo>
                  <a:lnTo>
                    <a:pt x="319" y="159"/>
                  </a:lnTo>
                  <a:cubicBezTo>
                    <a:pt x="319" y="247"/>
                    <a:pt x="248" y="319"/>
                    <a:pt x="160" y="319"/>
                  </a:cubicBezTo>
                  <a:cubicBezTo>
                    <a:pt x="71" y="319"/>
                    <a:pt x="0" y="247"/>
                    <a:pt x="0" y="159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248" y="0"/>
                    <a:pt x="319" y="70"/>
                    <a:pt x="319" y="159"/>
                  </a:cubicBezTo>
                  <a:close/>
                </a:path>
              </a:pathLst>
            </a:custGeom>
            <a:solidFill>
              <a:srgbClr val="00ADFF"/>
            </a:solidFill>
            <a:ln w="0">
              <a:solidFill>
                <a:srgbClr val="00ADFF"/>
              </a:solidFill>
              <a:prstDash val="solid"/>
              <a:round/>
              <a:headEnd/>
              <a:tailEnd/>
            </a:ln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6">
                <a:defRPr/>
              </a:pPr>
              <a:endParaRPr lang="en-DE" kern="0">
                <a:solidFill>
                  <a:srgbClr val="000000"/>
                </a:solidFill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7F08DC42-35A0-8027-A4F8-EC39A8358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42" y="4689511"/>
              <a:ext cx="108693" cy="77494"/>
            </a:xfrm>
            <a:custGeom>
              <a:avLst/>
              <a:gdLst>
                <a:gd name="T0" fmla="*/ 139 w 139"/>
                <a:gd name="T1" fmla="*/ 0 h 100"/>
                <a:gd name="T2" fmla="*/ 139 w 139"/>
                <a:gd name="T3" fmla="*/ 0 h 100"/>
                <a:gd name="T4" fmla="*/ 38 w 139"/>
                <a:gd name="T5" fmla="*/ 100 h 100"/>
                <a:gd name="T6" fmla="*/ 0 w 139"/>
                <a:gd name="T7" fmla="*/ 6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00">
                  <a:moveTo>
                    <a:pt x="139" y="0"/>
                  </a:moveTo>
                  <a:lnTo>
                    <a:pt x="139" y="0"/>
                  </a:lnTo>
                  <a:lnTo>
                    <a:pt x="38" y="100"/>
                  </a:lnTo>
                  <a:lnTo>
                    <a:pt x="0" y="62"/>
                  </a:lnTo>
                </a:path>
              </a:pathLst>
            </a:custGeom>
            <a:noFill/>
            <a:ln w="3175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6"/>
              <a:endParaRPr lang="en-DE">
                <a:solidFill>
                  <a:srgbClr val="000000"/>
                </a:solidFill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DE651FE-8A64-1D4E-24C2-CFFC7EDE957C}"/>
              </a:ext>
            </a:extLst>
          </p:cNvPr>
          <p:cNvGrpSpPr/>
          <p:nvPr/>
        </p:nvGrpSpPr>
        <p:grpSpPr>
          <a:xfrm>
            <a:off x="6794260" y="4049445"/>
            <a:ext cx="281688" cy="245533"/>
            <a:chOff x="391325" y="4595914"/>
            <a:chExt cx="248585" cy="248585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640DD439-541A-DFB7-B474-72F7C6960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25" y="4595914"/>
              <a:ext cx="248585" cy="248585"/>
            </a:xfrm>
            <a:custGeom>
              <a:avLst/>
              <a:gdLst>
                <a:gd name="T0" fmla="*/ 319 w 319"/>
                <a:gd name="T1" fmla="*/ 159 h 319"/>
                <a:gd name="T2" fmla="*/ 319 w 319"/>
                <a:gd name="T3" fmla="*/ 159 h 319"/>
                <a:gd name="T4" fmla="*/ 160 w 319"/>
                <a:gd name="T5" fmla="*/ 319 h 319"/>
                <a:gd name="T6" fmla="*/ 0 w 319"/>
                <a:gd name="T7" fmla="*/ 159 h 319"/>
                <a:gd name="T8" fmla="*/ 160 w 319"/>
                <a:gd name="T9" fmla="*/ 0 h 319"/>
                <a:gd name="T10" fmla="*/ 319 w 319"/>
                <a:gd name="T11" fmla="*/ 15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9" h="319">
                  <a:moveTo>
                    <a:pt x="319" y="159"/>
                  </a:moveTo>
                  <a:lnTo>
                    <a:pt x="319" y="159"/>
                  </a:lnTo>
                  <a:cubicBezTo>
                    <a:pt x="319" y="247"/>
                    <a:pt x="248" y="319"/>
                    <a:pt x="160" y="319"/>
                  </a:cubicBezTo>
                  <a:cubicBezTo>
                    <a:pt x="71" y="319"/>
                    <a:pt x="0" y="247"/>
                    <a:pt x="0" y="159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248" y="0"/>
                    <a:pt x="319" y="70"/>
                    <a:pt x="319" y="159"/>
                  </a:cubicBezTo>
                  <a:close/>
                </a:path>
              </a:pathLst>
            </a:custGeom>
            <a:solidFill>
              <a:srgbClr val="00ADFF"/>
            </a:solidFill>
            <a:ln w="0">
              <a:solidFill>
                <a:srgbClr val="00ADFF"/>
              </a:solidFill>
              <a:prstDash val="solid"/>
              <a:round/>
              <a:headEnd/>
              <a:tailEnd/>
            </a:ln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6">
                <a:defRPr/>
              </a:pPr>
              <a:endParaRPr lang="en-DE" kern="0">
                <a:solidFill>
                  <a:srgbClr val="000000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460EDAB6-5B5A-4FBD-B4C3-BE7691871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42" y="4689511"/>
              <a:ext cx="108693" cy="77494"/>
            </a:xfrm>
            <a:custGeom>
              <a:avLst/>
              <a:gdLst>
                <a:gd name="T0" fmla="*/ 139 w 139"/>
                <a:gd name="T1" fmla="*/ 0 h 100"/>
                <a:gd name="T2" fmla="*/ 139 w 139"/>
                <a:gd name="T3" fmla="*/ 0 h 100"/>
                <a:gd name="T4" fmla="*/ 38 w 139"/>
                <a:gd name="T5" fmla="*/ 100 h 100"/>
                <a:gd name="T6" fmla="*/ 0 w 139"/>
                <a:gd name="T7" fmla="*/ 6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00">
                  <a:moveTo>
                    <a:pt x="139" y="0"/>
                  </a:moveTo>
                  <a:lnTo>
                    <a:pt x="139" y="0"/>
                  </a:lnTo>
                  <a:lnTo>
                    <a:pt x="38" y="100"/>
                  </a:lnTo>
                  <a:lnTo>
                    <a:pt x="0" y="62"/>
                  </a:lnTo>
                </a:path>
              </a:pathLst>
            </a:custGeom>
            <a:noFill/>
            <a:ln w="3175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6"/>
              <a:endParaRPr lang="en-DE">
                <a:solidFill>
                  <a:srgbClr val="000000"/>
                </a:solidFill>
              </a:endParaRPr>
            </a:p>
          </p:txBody>
        </p:sp>
      </p:grpSp>
      <p:sp>
        <p:nvSpPr>
          <p:cNvPr id="32" name="Textfeld 25">
            <a:extLst>
              <a:ext uri="{FF2B5EF4-FFF2-40B4-BE49-F238E27FC236}">
                <a16:creationId xmlns:a16="http://schemas.microsoft.com/office/drawing/2014/main" id="{CE29DD09-3478-33F7-47B4-B42BF596BDB4}"/>
              </a:ext>
            </a:extLst>
          </p:cNvPr>
          <p:cNvSpPr txBox="1"/>
          <p:nvPr/>
        </p:nvSpPr>
        <p:spPr>
          <a:xfrm>
            <a:off x="7278214" y="1857993"/>
            <a:ext cx="4695007" cy="465911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  <a:buClr>
                <a:srgbClr val="E60000"/>
              </a:buClr>
              <a:defRPr/>
            </a:pPr>
            <a:r>
              <a:rPr lang="en-US"/>
              <a:t>New dashboard with Smart Insights</a:t>
            </a:r>
            <a:endParaRPr lang="de-DE"/>
          </a:p>
        </p:txBody>
      </p:sp>
      <p:sp>
        <p:nvSpPr>
          <p:cNvPr id="33" name="Textfeld 25">
            <a:extLst>
              <a:ext uri="{FF2B5EF4-FFF2-40B4-BE49-F238E27FC236}">
                <a16:creationId xmlns:a16="http://schemas.microsoft.com/office/drawing/2014/main" id="{62CEC075-7591-D027-0AF2-81031F777003}"/>
              </a:ext>
            </a:extLst>
          </p:cNvPr>
          <p:cNvSpPr txBox="1"/>
          <p:nvPr/>
        </p:nvSpPr>
        <p:spPr>
          <a:xfrm>
            <a:off x="7278214" y="2513334"/>
            <a:ext cx="4695007" cy="465911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  <a:buClr>
                <a:srgbClr val="E60000"/>
              </a:buClr>
              <a:defRPr/>
            </a:pPr>
            <a:r>
              <a:rPr lang="en-US"/>
              <a:t>Fresh UI with user-centric organization in modern M365 look</a:t>
            </a:r>
            <a:endParaRPr lang="de-DE"/>
          </a:p>
        </p:txBody>
      </p:sp>
      <p:sp>
        <p:nvSpPr>
          <p:cNvPr id="38" name="Textfeld 25">
            <a:extLst>
              <a:ext uri="{FF2B5EF4-FFF2-40B4-BE49-F238E27FC236}">
                <a16:creationId xmlns:a16="http://schemas.microsoft.com/office/drawing/2014/main" id="{AD525026-2570-D780-C42A-B96D50D13D50}"/>
              </a:ext>
            </a:extLst>
          </p:cNvPr>
          <p:cNvSpPr txBox="1"/>
          <p:nvPr/>
        </p:nvSpPr>
        <p:spPr>
          <a:xfrm>
            <a:off x="7183726" y="3962934"/>
            <a:ext cx="4695007" cy="465911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  <a:buClr>
                <a:srgbClr val="E60000"/>
              </a:buClr>
              <a:defRPr/>
            </a:pPr>
            <a:r>
              <a:rPr lang="en-US" dirty="0"/>
              <a:t>Direct help-center access for customers</a:t>
            </a:r>
            <a:endParaRPr lang="de-DE" dirty="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8F24E1B-F997-1745-3623-5DC591E66004}"/>
              </a:ext>
            </a:extLst>
          </p:cNvPr>
          <p:cNvGrpSpPr/>
          <p:nvPr/>
        </p:nvGrpSpPr>
        <p:grpSpPr>
          <a:xfrm>
            <a:off x="6794260" y="4784269"/>
            <a:ext cx="281688" cy="245533"/>
            <a:chOff x="391325" y="4595914"/>
            <a:chExt cx="248585" cy="248585"/>
          </a:xfrm>
        </p:grpSpPr>
        <p:sp>
          <p:nvSpPr>
            <p:cNvPr id="41" name="Freeform 5">
              <a:extLst>
                <a:ext uri="{FF2B5EF4-FFF2-40B4-BE49-F238E27FC236}">
                  <a16:creationId xmlns:a16="http://schemas.microsoft.com/office/drawing/2014/main" id="{53795EEA-381C-D9E0-D90B-DFEEE5A57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25" y="4595914"/>
              <a:ext cx="248585" cy="248585"/>
            </a:xfrm>
            <a:custGeom>
              <a:avLst/>
              <a:gdLst>
                <a:gd name="T0" fmla="*/ 319 w 319"/>
                <a:gd name="T1" fmla="*/ 159 h 319"/>
                <a:gd name="T2" fmla="*/ 319 w 319"/>
                <a:gd name="T3" fmla="*/ 159 h 319"/>
                <a:gd name="T4" fmla="*/ 160 w 319"/>
                <a:gd name="T5" fmla="*/ 319 h 319"/>
                <a:gd name="T6" fmla="*/ 0 w 319"/>
                <a:gd name="T7" fmla="*/ 159 h 319"/>
                <a:gd name="T8" fmla="*/ 160 w 319"/>
                <a:gd name="T9" fmla="*/ 0 h 319"/>
                <a:gd name="T10" fmla="*/ 319 w 319"/>
                <a:gd name="T11" fmla="*/ 15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9" h="319">
                  <a:moveTo>
                    <a:pt x="319" y="159"/>
                  </a:moveTo>
                  <a:lnTo>
                    <a:pt x="319" y="159"/>
                  </a:lnTo>
                  <a:cubicBezTo>
                    <a:pt x="319" y="247"/>
                    <a:pt x="248" y="319"/>
                    <a:pt x="160" y="319"/>
                  </a:cubicBezTo>
                  <a:cubicBezTo>
                    <a:pt x="71" y="319"/>
                    <a:pt x="0" y="247"/>
                    <a:pt x="0" y="159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248" y="0"/>
                    <a:pt x="319" y="70"/>
                    <a:pt x="319" y="159"/>
                  </a:cubicBezTo>
                  <a:close/>
                </a:path>
              </a:pathLst>
            </a:custGeom>
            <a:solidFill>
              <a:srgbClr val="00ADFF"/>
            </a:solidFill>
            <a:ln w="0">
              <a:solidFill>
                <a:srgbClr val="00ADFF"/>
              </a:solidFill>
              <a:prstDash val="solid"/>
              <a:round/>
              <a:headEnd/>
              <a:tailEnd/>
            </a:ln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6">
                <a:defRPr/>
              </a:pPr>
              <a:endParaRPr lang="en-DE" kern="0">
                <a:solidFill>
                  <a:srgbClr val="000000"/>
                </a:solidFill>
              </a:endParaRPr>
            </a:p>
          </p:txBody>
        </p:sp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74D69334-FE50-BC15-7223-F5EC50B78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42" y="4689511"/>
              <a:ext cx="108693" cy="77494"/>
            </a:xfrm>
            <a:custGeom>
              <a:avLst/>
              <a:gdLst>
                <a:gd name="T0" fmla="*/ 139 w 139"/>
                <a:gd name="T1" fmla="*/ 0 h 100"/>
                <a:gd name="T2" fmla="*/ 139 w 139"/>
                <a:gd name="T3" fmla="*/ 0 h 100"/>
                <a:gd name="T4" fmla="*/ 38 w 139"/>
                <a:gd name="T5" fmla="*/ 100 h 100"/>
                <a:gd name="T6" fmla="*/ 0 w 139"/>
                <a:gd name="T7" fmla="*/ 6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00">
                  <a:moveTo>
                    <a:pt x="139" y="0"/>
                  </a:moveTo>
                  <a:lnTo>
                    <a:pt x="139" y="0"/>
                  </a:lnTo>
                  <a:lnTo>
                    <a:pt x="38" y="100"/>
                  </a:lnTo>
                  <a:lnTo>
                    <a:pt x="0" y="62"/>
                  </a:lnTo>
                </a:path>
              </a:pathLst>
            </a:custGeom>
            <a:noFill/>
            <a:ln w="3175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6"/>
              <a:endParaRPr lang="en-DE">
                <a:solidFill>
                  <a:srgbClr val="000000"/>
                </a:solidFill>
              </a:endParaRPr>
            </a:p>
          </p:txBody>
        </p:sp>
      </p:grpSp>
      <p:sp>
        <p:nvSpPr>
          <p:cNvPr id="43" name="Textfeld 25">
            <a:extLst>
              <a:ext uri="{FF2B5EF4-FFF2-40B4-BE49-F238E27FC236}">
                <a16:creationId xmlns:a16="http://schemas.microsoft.com/office/drawing/2014/main" id="{78821831-0B77-4C76-0A1D-A3A192846E28}"/>
              </a:ext>
            </a:extLst>
          </p:cNvPr>
          <p:cNvSpPr txBox="1"/>
          <p:nvPr/>
        </p:nvSpPr>
        <p:spPr>
          <a:xfrm>
            <a:off x="7183726" y="4697758"/>
            <a:ext cx="4695007" cy="465911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  <a:buClr>
                <a:srgbClr val="E60000"/>
              </a:buClr>
              <a:defRPr/>
            </a:pPr>
            <a:r>
              <a:rPr lang="en-US" dirty="0"/>
              <a:t>SharePoint Point-in-Time Restores + granular point in time restores for folders &amp; files for all solutions</a:t>
            </a:r>
            <a:endParaRPr lang="de-DE" dirty="0"/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787C55E7-CE7D-52AA-EA29-0B36B8135C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046" y="2358453"/>
            <a:ext cx="4913967" cy="25204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0322EF4-EA51-7473-2DE3-B636F4370A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2199" y="3442373"/>
            <a:ext cx="4463801" cy="26548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7C8626C9-9F62-51FE-6C8B-416B63FEC9FF}"/>
              </a:ext>
            </a:extLst>
          </p:cNvPr>
          <p:cNvGrpSpPr/>
          <p:nvPr/>
        </p:nvGrpSpPr>
        <p:grpSpPr>
          <a:xfrm>
            <a:off x="6794260" y="3329417"/>
            <a:ext cx="281688" cy="245533"/>
            <a:chOff x="391325" y="4595914"/>
            <a:chExt cx="248585" cy="248585"/>
          </a:xfrm>
        </p:grpSpPr>
        <p:sp>
          <p:nvSpPr>
            <p:cNvPr id="47" name="Freeform 5">
              <a:extLst>
                <a:ext uri="{FF2B5EF4-FFF2-40B4-BE49-F238E27FC236}">
                  <a16:creationId xmlns:a16="http://schemas.microsoft.com/office/drawing/2014/main" id="{CC1BF011-59E8-FF2F-9C2B-9DDF633BB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25" y="4595914"/>
              <a:ext cx="248585" cy="248585"/>
            </a:xfrm>
            <a:custGeom>
              <a:avLst/>
              <a:gdLst>
                <a:gd name="T0" fmla="*/ 319 w 319"/>
                <a:gd name="T1" fmla="*/ 159 h 319"/>
                <a:gd name="T2" fmla="*/ 319 w 319"/>
                <a:gd name="T3" fmla="*/ 159 h 319"/>
                <a:gd name="T4" fmla="*/ 160 w 319"/>
                <a:gd name="T5" fmla="*/ 319 h 319"/>
                <a:gd name="T6" fmla="*/ 0 w 319"/>
                <a:gd name="T7" fmla="*/ 159 h 319"/>
                <a:gd name="T8" fmla="*/ 160 w 319"/>
                <a:gd name="T9" fmla="*/ 0 h 319"/>
                <a:gd name="T10" fmla="*/ 319 w 319"/>
                <a:gd name="T11" fmla="*/ 15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9" h="319">
                  <a:moveTo>
                    <a:pt x="319" y="159"/>
                  </a:moveTo>
                  <a:lnTo>
                    <a:pt x="319" y="159"/>
                  </a:lnTo>
                  <a:cubicBezTo>
                    <a:pt x="319" y="247"/>
                    <a:pt x="248" y="319"/>
                    <a:pt x="160" y="319"/>
                  </a:cubicBezTo>
                  <a:cubicBezTo>
                    <a:pt x="71" y="319"/>
                    <a:pt x="0" y="247"/>
                    <a:pt x="0" y="159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248" y="0"/>
                    <a:pt x="319" y="70"/>
                    <a:pt x="319" y="159"/>
                  </a:cubicBezTo>
                  <a:close/>
                </a:path>
              </a:pathLst>
            </a:custGeom>
            <a:solidFill>
              <a:srgbClr val="00ADFF"/>
            </a:solidFill>
            <a:ln w="0">
              <a:solidFill>
                <a:srgbClr val="00ADFF"/>
              </a:solidFill>
              <a:prstDash val="solid"/>
              <a:round/>
              <a:headEnd/>
              <a:tailEnd/>
            </a:ln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6">
                <a:defRPr/>
              </a:pPr>
              <a:endParaRPr lang="en-DE" kern="0">
                <a:solidFill>
                  <a:srgbClr val="000000"/>
                </a:solidFill>
              </a:endParaRPr>
            </a:p>
          </p:txBody>
        </p:sp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10710354-D7D0-D154-65DF-132F01EA8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42" y="4689511"/>
              <a:ext cx="108693" cy="77494"/>
            </a:xfrm>
            <a:custGeom>
              <a:avLst/>
              <a:gdLst>
                <a:gd name="T0" fmla="*/ 139 w 139"/>
                <a:gd name="T1" fmla="*/ 0 h 100"/>
                <a:gd name="T2" fmla="*/ 139 w 139"/>
                <a:gd name="T3" fmla="*/ 0 h 100"/>
                <a:gd name="T4" fmla="*/ 38 w 139"/>
                <a:gd name="T5" fmla="*/ 100 h 100"/>
                <a:gd name="T6" fmla="*/ 0 w 139"/>
                <a:gd name="T7" fmla="*/ 6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00">
                  <a:moveTo>
                    <a:pt x="139" y="0"/>
                  </a:moveTo>
                  <a:lnTo>
                    <a:pt x="139" y="0"/>
                  </a:lnTo>
                  <a:lnTo>
                    <a:pt x="38" y="100"/>
                  </a:lnTo>
                  <a:lnTo>
                    <a:pt x="0" y="62"/>
                  </a:lnTo>
                </a:path>
              </a:pathLst>
            </a:custGeom>
            <a:noFill/>
            <a:ln w="3175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6"/>
              <a:endParaRPr lang="en-DE">
                <a:solidFill>
                  <a:srgbClr val="000000"/>
                </a:solidFill>
              </a:endParaRPr>
            </a:p>
          </p:txBody>
        </p:sp>
      </p:grpSp>
      <p:sp>
        <p:nvSpPr>
          <p:cNvPr id="49" name="Textfeld 25">
            <a:extLst>
              <a:ext uri="{FF2B5EF4-FFF2-40B4-BE49-F238E27FC236}">
                <a16:creationId xmlns:a16="http://schemas.microsoft.com/office/drawing/2014/main" id="{C459C0A9-CF24-6FD6-662A-B80A61B32B3B}"/>
              </a:ext>
            </a:extLst>
          </p:cNvPr>
          <p:cNvSpPr txBox="1"/>
          <p:nvPr/>
        </p:nvSpPr>
        <p:spPr>
          <a:xfrm>
            <a:off x="7183726" y="3242906"/>
            <a:ext cx="4695007" cy="465911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  <a:buClr>
                <a:srgbClr val="E60000"/>
              </a:buClr>
              <a:defRPr/>
            </a:pPr>
            <a:r>
              <a:rPr lang="en-US"/>
              <a:t>MS Planner backups &amp; restores</a:t>
            </a:r>
            <a:endParaRPr lang="de-DE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5CD04C6-EA5E-B623-EB7A-5B02DAF78A37}"/>
              </a:ext>
            </a:extLst>
          </p:cNvPr>
          <p:cNvGrpSpPr/>
          <p:nvPr/>
        </p:nvGrpSpPr>
        <p:grpSpPr>
          <a:xfrm>
            <a:off x="6794260" y="5708395"/>
            <a:ext cx="281688" cy="245533"/>
            <a:chOff x="391325" y="4595914"/>
            <a:chExt cx="248585" cy="248585"/>
          </a:xfrm>
        </p:grpSpPr>
        <p:sp>
          <p:nvSpPr>
            <p:cNvPr id="51" name="Freeform 5">
              <a:extLst>
                <a:ext uri="{FF2B5EF4-FFF2-40B4-BE49-F238E27FC236}">
                  <a16:creationId xmlns:a16="http://schemas.microsoft.com/office/drawing/2014/main" id="{0D00A09C-7A23-7DB1-0B34-D609AEEC40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325" y="4595914"/>
              <a:ext cx="248585" cy="248585"/>
            </a:xfrm>
            <a:custGeom>
              <a:avLst/>
              <a:gdLst>
                <a:gd name="T0" fmla="*/ 319 w 319"/>
                <a:gd name="T1" fmla="*/ 159 h 319"/>
                <a:gd name="T2" fmla="*/ 319 w 319"/>
                <a:gd name="T3" fmla="*/ 159 h 319"/>
                <a:gd name="T4" fmla="*/ 160 w 319"/>
                <a:gd name="T5" fmla="*/ 319 h 319"/>
                <a:gd name="T6" fmla="*/ 0 w 319"/>
                <a:gd name="T7" fmla="*/ 159 h 319"/>
                <a:gd name="T8" fmla="*/ 160 w 319"/>
                <a:gd name="T9" fmla="*/ 0 h 319"/>
                <a:gd name="T10" fmla="*/ 319 w 319"/>
                <a:gd name="T11" fmla="*/ 159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9" h="319">
                  <a:moveTo>
                    <a:pt x="319" y="159"/>
                  </a:moveTo>
                  <a:lnTo>
                    <a:pt x="319" y="159"/>
                  </a:lnTo>
                  <a:cubicBezTo>
                    <a:pt x="319" y="247"/>
                    <a:pt x="248" y="319"/>
                    <a:pt x="160" y="319"/>
                  </a:cubicBezTo>
                  <a:cubicBezTo>
                    <a:pt x="71" y="319"/>
                    <a:pt x="0" y="247"/>
                    <a:pt x="0" y="159"/>
                  </a:cubicBezTo>
                  <a:cubicBezTo>
                    <a:pt x="0" y="70"/>
                    <a:pt x="71" y="0"/>
                    <a:pt x="160" y="0"/>
                  </a:cubicBezTo>
                  <a:cubicBezTo>
                    <a:pt x="248" y="0"/>
                    <a:pt x="319" y="70"/>
                    <a:pt x="319" y="159"/>
                  </a:cubicBezTo>
                  <a:close/>
                </a:path>
              </a:pathLst>
            </a:custGeom>
            <a:solidFill>
              <a:srgbClr val="00ADFF"/>
            </a:solidFill>
            <a:ln w="0">
              <a:solidFill>
                <a:srgbClr val="00ADFF"/>
              </a:solidFill>
              <a:prstDash val="solid"/>
              <a:round/>
              <a:headEnd/>
              <a:tailEnd/>
            </a:ln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6">
                <a:defRPr/>
              </a:pPr>
              <a:endParaRPr lang="en-DE" kern="0">
                <a:solidFill>
                  <a:srgbClr val="000000"/>
                </a:solidFill>
              </a:endParaRPr>
            </a:p>
          </p:txBody>
        </p:sp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20AE1984-0CE8-0433-BFFC-53C9FB96F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42" y="4689511"/>
              <a:ext cx="108693" cy="77494"/>
            </a:xfrm>
            <a:custGeom>
              <a:avLst/>
              <a:gdLst>
                <a:gd name="T0" fmla="*/ 139 w 139"/>
                <a:gd name="T1" fmla="*/ 0 h 100"/>
                <a:gd name="T2" fmla="*/ 139 w 139"/>
                <a:gd name="T3" fmla="*/ 0 h 100"/>
                <a:gd name="T4" fmla="*/ 38 w 139"/>
                <a:gd name="T5" fmla="*/ 100 h 100"/>
                <a:gd name="T6" fmla="*/ 0 w 139"/>
                <a:gd name="T7" fmla="*/ 6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9" h="100">
                  <a:moveTo>
                    <a:pt x="139" y="0"/>
                  </a:moveTo>
                  <a:lnTo>
                    <a:pt x="139" y="0"/>
                  </a:lnTo>
                  <a:lnTo>
                    <a:pt x="38" y="100"/>
                  </a:lnTo>
                  <a:lnTo>
                    <a:pt x="0" y="62"/>
                  </a:lnTo>
                </a:path>
              </a:pathLst>
            </a:custGeom>
            <a:noFill/>
            <a:ln w="31750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26" tIns="45713" rIns="91426" bIns="45713" numCol="1" anchor="t" anchorCtr="0" compatLnSpc="1">
              <a:prstTxWarp prst="textNoShape">
                <a:avLst/>
              </a:prstTxWarp>
            </a:bodyPr>
            <a:lstStyle/>
            <a:p>
              <a:pPr defTabSz="914216"/>
              <a:endParaRPr lang="en-DE">
                <a:solidFill>
                  <a:srgbClr val="000000"/>
                </a:solidFill>
              </a:endParaRPr>
            </a:p>
          </p:txBody>
        </p:sp>
      </p:grpSp>
      <p:sp>
        <p:nvSpPr>
          <p:cNvPr id="53" name="Textfeld 25">
            <a:extLst>
              <a:ext uri="{FF2B5EF4-FFF2-40B4-BE49-F238E27FC236}">
                <a16:creationId xmlns:a16="http://schemas.microsoft.com/office/drawing/2014/main" id="{91459621-4228-8653-DA45-89FE19F3B0B3}"/>
              </a:ext>
            </a:extLst>
          </p:cNvPr>
          <p:cNvSpPr txBox="1"/>
          <p:nvPr/>
        </p:nvSpPr>
        <p:spPr>
          <a:xfrm>
            <a:off x="7183726" y="5621884"/>
            <a:ext cx="4695007" cy="465911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  <a:buClr>
                <a:srgbClr val="E60000"/>
              </a:buClr>
              <a:defRPr/>
            </a:pPr>
            <a:r>
              <a:rPr lang="en-US" dirty="0"/>
              <a:t>Group Management for simplified user management</a:t>
            </a:r>
            <a:endParaRPr lang="de-DE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722371F-0EBC-71AB-D9B8-A1A6D3F625F4}"/>
              </a:ext>
            </a:extLst>
          </p:cNvPr>
          <p:cNvSpPr txBox="1"/>
          <p:nvPr/>
        </p:nvSpPr>
        <p:spPr>
          <a:xfrm>
            <a:off x="1570337" y="1266455"/>
            <a:ext cx="8299876" cy="6617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Roboto" panose="02000000000000000000" pitchFamily="2" charset="0"/>
                <a:cs typeface="+mn-cs"/>
              </a:rPr>
              <a:t>SkyKick Intelligent Backup for Microsoft 36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Roboto" panose="02000000000000000000" pitchFamily="2" charset="0"/>
                <a:cs typeface="+mn-cs"/>
              </a:rPr>
              <a:t>Your Autopilot for Microsoft 365 Data Protection</a:t>
            </a:r>
          </a:p>
        </p:txBody>
      </p:sp>
      <p:pic>
        <p:nvPicPr>
          <p:cNvPr id="56" name="Picture 55" descr="Icon&#10;&#10;Description automatically generated">
            <a:extLst>
              <a:ext uri="{FF2B5EF4-FFF2-40B4-BE49-F238E27FC236}">
                <a16:creationId xmlns:a16="http://schemas.microsoft.com/office/drawing/2014/main" id="{5B6AAB28-56C5-758B-11FD-5D480C96D9C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046" y="1181759"/>
            <a:ext cx="838021" cy="874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372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Portal Resources: </a:t>
            </a:r>
            <a:r>
              <a:rPr lang="en-US" sz="3200"/>
              <a:t>Partner documentation &amp; Customer talk tracks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E901E73-8DFE-A6EA-BB6B-7A780093CD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1236" y="2300544"/>
            <a:ext cx="7629525" cy="370522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2D276F4-7B74-F8F3-6EDB-32FC56098B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3762759"/>
              </p:ext>
            </p:extLst>
          </p:nvPr>
        </p:nvGraphicFramePr>
        <p:xfrm>
          <a:off x="1357547" y="1669596"/>
          <a:ext cx="9703836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5959">
                  <a:extLst>
                    <a:ext uri="{9D8B030D-6E8A-4147-A177-3AD203B41FA5}">
                      <a16:colId xmlns:a16="http://schemas.microsoft.com/office/drawing/2014/main" val="3426746195"/>
                    </a:ext>
                  </a:extLst>
                </a:gridCol>
                <a:gridCol w="2425959">
                  <a:extLst>
                    <a:ext uri="{9D8B030D-6E8A-4147-A177-3AD203B41FA5}">
                      <a16:colId xmlns:a16="http://schemas.microsoft.com/office/drawing/2014/main" val="1020947264"/>
                    </a:ext>
                  </a:extLst>
                </a:gridCol>
                <a:gridCol w="2425959">
                  <a:extLst>
                    <a:ext uri="{9D8B030D-6E8A-4147-A177-3AD203B41FA5}">
                      <a16:colId xmlns:a16="http://schemas.microsoft.com/office/drawing/2014/main" val="3550373898"/>
                    </a:ext>
                  </a:extLst>
                </a:gridCol>
                <a:gridCol w="2425959">
                  <a:extLst>
                    <a:ext uri="{9D8B030D-6E8A-4147-A177-3AD203B41FA5}">
                      <a16:colId xmlns:a16="http://schemas.microsoft.com/office/drawing/2014/main" val="8919544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Help Cen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Blo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Live Webin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Marketing Resour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1441621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FB2E26A1-6697-FEBB-3179-3E1DE3B1F697}"/>
              </a:ext>
            </a:extLst>
          </p:cNvPr>
          <p:cNvSpPr txBox="1"/>
          <p:nvPr/>
        </p:nvSpPr>
        <p:spPr>
          <a:xfrm>
            <a:off x="1264083" y="1095708"/>
            <a:ext cx="74527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NL">
                <a:solidFill>
                  <a:srgbClr val="00AFFF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support.skykick.com/hc/en-us/categories/200451257-Cloud-Backup</a:t>
            </a:r>
            <a:endParaRPr lang="en-NL">
              <a:solidFill>
                <a:srgbClr val="00A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927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47DC205-C7EA-4C4B-8617-6FC43A566DA3}"/>
              </a:ext>
            </a:extLst>
          </p:cNvPr>
          <p:cNvSpPr/>
          <p:nvPr/>
        </p:nvSpPr>
        <p:spPr>
          <a:xfrm>
            <a:off x="1788864" y="3657768"/>
            <a:ext cx="8472502" cy="1575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Working with the SkyKick Partner Success Team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8864" y="1159733"/>
            <a:ext cx="8472502" cy="249803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788864" y="5285677"/>
            <a:ext cx="847250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/>
              <a:t>Dedicated team for the EMEA region </a:t>
            </a:r>
          </a:p>
          <a:p>
            <a:pPr algn="ctr"/>
            <a:r>
              <a:rPr lang="en-US" sz="1400"/>
              <a:t>SkyKick Support is available in the English, Spanish, French &amp; German language</a:t>
            </a:r>
          </a:p>
          <a:p>
            <a:pPr algn="ctr"/>
            <a:r>
              <a:rPr lang="en-US" sz="1400"/>
              <a:t>Phone Support in the EMEA: Monday – Friday 24 hours a day</a:t>
            </a:r>
          </a:p>
          <a:p>
            <a:pPr algn="ctr"/>
            <a:endParaRPr lang="en-US" sz="1400"/>
          </a:p>
          <a:p>
            <a:pPr algn="ctr"/>
            <a:r>
              <a:rPr lang="en-GB" sz="1400">
                <a:hlinkClick r:id="rId3"/>
              </a:rPr>
              <a:t>https://www.skykick.com/support/get-support/</a:t>
            </a:r>
            <a:endParaRPr lang="en-US" sz="14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D628CB3-CEE2-4FAC-ADD4-6566736F91A7}"/>
              </a:ext>
            </a:extLst>
          </p:cNvPr>
          <p:cNvSpPr/>
          <p:nvPr/>
        </p:nvSpPr>
        <p:spPr>
          <a:xfrm>
            <a:off x="2579197" y="3709845"/>
            <a:ext cx="2219619" cy="257716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Email:</a:t>
            </a:r>
          </a:p>
          <a:p>
            <a:r>
              <a:rPr lang="en-US" sz="1000">
                <a:solidFill>
                  <a:schemeClr val="bg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pport@skykick.com</a:t>
            </a:r>
            <a:endParaRPr lang="en-US" sz="1000">
              <a:solidFill>
                <a:schemeClr val="bg1">
                  <a:lumMod val="50000"/>
                </a:schemeClr>
              </a:solidFill>
            </a:endParaRPr>
          </a:p>
          <a:p>
            <a:endParaRPr lang="en-US" sz="1000" b="1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Phone:</a:t>
            </a:r>
          </a:p>
          <a:p>
            <a:r>
              <a:rPr lang="en-BE" sz="1000">
                <a:solidFill>
                  <a:schemeClr val="bg1">
                    <a:lumMod val="50000"/>
                  </a:schemeClr>
                </a:solidFill>
              </a:rPr>
              <a:t>Check website</a:t>
            </a:r>
            <a:endParaRPr lang="en-US" sz="10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222449-E1A2-4AAA-B2C4-65B4AF2CA2CB}"/>
              </a:ext>
            </a:extLst>
          </p:cNvPr>
          <p:cNvSpPr/>
          <p:nvPr/>
        </p:nvSpPr>
        <p:spPr>
          <a:xfrm>
            <a:off x="4874378" y="3705383"/>
            <a:ext cx="2301474" cy="157583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BE" sz="1000" b="1">
                <a:solidFill>
                  <a:schemeClr val="bg1">
                    <a:lumMod val="50000"/>
                  </a:schemeClr>
                </a:solidFill>
              </a:rPr>
              <a:t>Call SkyKick Support</a:t>
            </a:r>
            <a:endParaRPr lang="en-US" sz="1000" b="1">
              <a:solidFill>
                <a:schemeClr val="bg1">
                  <a:lumMod val="50000"/>
                </a:schemeClr>
              </a:solidFill>
            </a:endParaRPr>
          </a:p>
          <a:p>
            <a:endParaRPr lang="en-US" sz="100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BE" sz="1000">
                <a:solidFill>
                  <a:schemeClr val="bg1">
                    <a:lumMod val="50000"/>
                  </a:schemeClr>
                </a:solidFill>
              </a:rPr>
              <a:t>Needed information</a:t>
            </a:r>
            <a:endParaRPr lang="en-US" sz="1000">
              <a:solidFill>
                <a:schemeClr val="bg1">
                  <a:lumMod val="50000"/>
                </a:schemeClr>
              </a:solidFill>
            </a:endParaRPr>
          </a:p>
          <a:p>
            <a:endParaRPr lang="en-US" sz="1000">
              <a:solidFill>
                <a:schemeClr val="bg1">
                  <a:lumMod val="50000"/>
                </a:schemeClr>
              </a:solidFill>
            </a:endParaRPr>
          </a:p>
          <a:p>
            <a:pPr marL="171450" indent="-171450">
              <a:buFontTx/>
              <a:buChar char="-"/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Partner Name</a:t>
            </a:r>
          </a:p>
          <a:p>
            <a:pPr marL="171450" indent="-171450">
              <a:buFontTx/>
              <a:buChar char="-"/>
            </a:pP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MPN ID</a:t>
            </a:r>
          </a:p>
          <a:p>
            <a:pPr marL="171450" indent="-171450">
              <a:buFontTx/>
              <a:buChar char="-"/>
            </a:pPr>
            <a:r>
              <a:rPr lang="en-BE" sz="1000">
                <a:solidFill>
                  <a:schemeClr val="bg1">
                    <a:lumMod val="50000"/>
                  </a:schemeClr>
                </a:solidFill>
              </a:rPr>
              <a:t>Name of the backup subscription</a:t>
            </a:r>
          </a:p>
          <a:p>
            <a:pPr marL="171450" indent="-171450">
              <a:buFontTx/>
              <a:buChar char="-"/>
            </a:pPr>
            <a:r>
              <a:rPr lang="en-BE" sz="1000">
                <a:solidFill>
                  <a:schemeClr val="bg1">
                    <a:lumMod val="50000"/>
                  </a:schemeClr>
                </a:solidFill>
              </a:rPr>
              <a:t>Pin Code</a:t>
            </a:r>
            <a:endParaRPr lang="en-US" sz="10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4B163E-5C41-4D4E-8250-7C13678B03C4}"/>
              </a:ext>
            </a:extLst>
          </p:cNvPr>
          <p:cNvSpPr/>
          <p:nvPr/>
        </p:nvSpPr>
        <p:spPr>
          <a:xfrm>
            <a:off x="7507209" y="3709845"/>
            <a:ext cx="2301474" cy="157583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Email </a:t>
            </a:r>
            <a:r>
              <a:rPr lang="en-BE" sz="1000" b="1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000" b="1">
                <a:solidFill>
                  <a:schemeClr val="bg1">
                    <a:lumMod val="50000"/>
                  </a:schemeClr>
                </a:solidFill>
              </a:rPr>
              <a:t>SkyKick Support</a:t>
            </a:r>
          </a:p>
          <a:p>
            <a:endParaRPr lang="en-US" sz="100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BE" sz="1000">
                <a:solidFill>
                  <a:schemeClr val="bg1">
                    <a:lumMod val="50000"/>
                  </a:schemeClr>
                </a:solidFill>
              </a:rPr>
              <a:t>Subject format</a:t>
            </a: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:</a:t>
            </a:r>
          </a:p>
          <a:p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[</a:t>
            </a:r>
            <a:r>
              <a:rPr lang="en-BE" sz="1000">
                <a:solidFill>
                  <a:schemeClr val="bg1">
                    <a:lumMod val="50000"/>
                  </a:schemeClr>
                </a:solidFill>
              </a:rPr>
              <a:t>subscription Name</a:t>
            </a: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] – “</a:t>
            </a:r>
            <a:r>
              <a:rPr lang="en-BE" sz="1000">
                <a:solidFill>
                  <a:schemeClr val="bg1">
                    <a:lumMod val="50000"/>
                  </a:schemeClr>
                </a:solidFill>
              </a:rPr>
              <a:t>Issue</a:t>
            </a:r>
            <a:r>
              <a:rPr lang="en-US" sz="1000">
                <a:solidFill>
                  <a:schemeClr val="bg1">
                    <a:lumMod val="50000"/>
                  </a:schemeClr>
                </a:solidFill>
              </a:rPr>
              <a:t>”</a:t>
            </a:r>
          </a:p>
          <a:p>
            <a:endParaRPr lang="en-US" sz="10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63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500">
        <p14:prism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96222E8-A0A9-2753-8AA3-75488C4EE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8766" y="3014356"/>
            <a:ext cx="9134467" cy="1504101"/>
          </a:xfrm>
        </p:spPr>
        <p:txBody>
          <a:bodyPr/>
          <a:lstStyle/>
          <a:p>
            <a:r>
              <a:rPr lang="nl-NL" dirty="0"/>
              <a:t>Thank</a:t>
            </a:r>
            <a:r>
              <a:rPr lang="en-BE" dirty="0"/>
              <a:t> </a:t>
            </a:r>
            <a:r>
              <a:rPr lang="nl-NL" dirty="0"/>
              <a:t>You</a:t>
            </a:r>
            <a:r>
              <a:rPr lang="en-BE" dirty="0"/>
              <a:t> !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3838605-6D58-FD96-616D-18F4702779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697798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C41CB347-B93D-A7A1-4B02-84832D99E73E}"/>
              </a:ext>
            </a:extLst>
          </p:cNvPr>
          <p:cNvSpPr txBox="1"/>
          <p:nvPr/>
        </p:nvSpPr>
        <p:spPr>
          <a:xfrm>
            <a:off x="3312782" y="1747320"/>
            <a:ext cx="8299876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SkyKick Cloud Backup for Microsoft 36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The most intelligent solution </a:t>
            </a:r>
            <a:r>
              <a:rPr lang="en-US" sz="1600" i="1">
                <a:solidFill>
                  <a:srgbClr val="00A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or secure, automated &amp; customer-centric 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data protec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600" b="1" i="0" u="none" strike="noStrike" kern="1200" cap="none" spc="0" normalizeH="0" baseline="0" noProof="0">
              <a:ln>
                <a:noFill/>
              </a:ln>
              <a:solidFill>
                <a:srgbClr val="00A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A56A752-C216-5D39-991D-2699345001D5}"/>
              </a:ext>
            </a:extLst>
          </p:cNvPr>
          <p:cNvSpPr txBox="1"/>
          <p:nvPr/>
        </p:nvSpPr>
        <p:spPr>
          <a:xfrm>
            <a:off x="701707" y="3946770"/>
            <a:ext cx="3531881" cy="79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2024" marR="0" lvl="0" indent="-192024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9BAB2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Smart Insights</a:t>
            </a:r>
          </a:p>
          <a:p>
            <a:pPr marL="192024" marR="0" lvl="0" indent="-192024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9BAB2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Snap Search</a:t>
            </a:r>
          </a:p>
          <a:p>
            <a:pPr marL="192024" marR="0" lvl="0" indent="-192024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9BAB2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Persistent Backup (Up to 6x &amp; Fully Retained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7E4E808-D445-FDF3-5BBB-D732EE264970}"/>
              </a:ext>
            </a:extLst>
          </p:cNvPr>
          <p:cNvSpPr txBox="1"/>
          <p:nvPr/>
        </p:nvSpPr>
        <p:spPr>
          <a:xfrm>
            <a:off x="4487112" y="3946770"/>
            <a:ext cx="3801211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2024" marR="0" lvl="0" indent="-192024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9BAB2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n-BE" sz="1200" b="1" i="0" u="none" strike="noStrike" kern="1200" cap="none" spc="0" normalizeH="0" baseline="0" noProof="0" dirty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Unlimited Storage and Retentio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A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192024" marR="0" lvl="0" indent="-192024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9BAB2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Cloud-Native</a:t>
            </a:r>
          </a:p>
          <a:p>
            <a:pPr marL="192024" marR="0" lvl="0" indent="-192024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9BAB2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Groups Management 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00A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</a:endParaRPr>
          </a:p>
          <a:p>
            <a:pPr marL="192024" marR="0" lvl="0" indent="-192024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9BAB2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Branded Customer Self-Servic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BAEF2DB-ABA2-D47D-443F-D8CE35D6DAF6}"/>
              </a:ext>
            </a:extLst>
          </p:cNvPr>
          <p:cNvCxnSpPr>
            <a:cxnSpLocks/>
          </p:cNvCxnSpPr>
          <p:nvPr/>
        </p:nvCxnSpPr>
        <p:spPr>
          <a:xfrm>
            <a:off x="701707" y="3790622"/>
            <a:ext cx="3531881" cy="0"/>
          </a:xfrm>
          <a:prstGeom prst="line">
            <a:avLst/>
          </a:prstGeom>
          <a:ln w="19050">
            <a:solidFill>
              <a:srgbClr val="19BA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BD74626F-84B7-C004-A2CB-AE1BC47D33EA}"/>
              </a:ext>
            </a:extLst>
          </p:cNvPr>
          <p:cNvCxnSpPr>
            <a:cxnSpLocks/>
          </p:cNvCxnSpPr>
          <p:nvPr/>
        </p:nvCxnSpPr>
        <p:spPr>
          <a:xfrm>
            <a:off x="4487113" y="3790622"/>
            <a:ext cx="3279787" cy="0"/>
          </a:xfrm>
          <a:prstGeom prst="line">
            <a:avLst/>
          </a:prstGeom>
          <a:ln w="19050">
            <a:solidFill>
              <a:srgbClr val="19BA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3521F385-2D53-6B2B-66CF-C8D82526AB53}"/>
              </a:ext>
            </a:extLst>
          </p:cNvPr>
          <p:cNvSpPr txBox="1"/>
          <p:nvPr/>
        </p:nvSpPr>
        <p:spPr>
          <a:xfrm>
            <a:off x="1752201" y="3000177"/>
            <a:ext cx="266040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er Value</a:t>
            </a:r>
            <a:endParaRPr kumimoji="0" lang="en-NL" sz="2000" b="1" i="0" u="none" strike="noStrike" kern="1200" cap="none" spc="0" normalizeH="0" baseline="0" noProof="0">
              <a:ln>
                <a:noFill/>
              </a:ln>
              <a:solidFill>
                <a:srgbClr val="00A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6E11EBB-A438-C591-876C-D34A7C2EBAC9}"/>
              </a:ext>
            </a:extLst>
          </p:cNvPr>
          <p:cNvSpPr txBox="1"/>
          <p:nvPr/>
        </p:nvSpPr>
        <p:spPr>
          <a:xfrm>
            <a:off x="5518895" y="3028890"/>
            <a:ext cx="276207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ated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8EF148D-C19E-7A00-D3DC-A0534C0516A7}"/>
              </a:ext>
            </a:extLst>
          </p:cNvPr>
          <p:cNvSpPr/>
          <p:nvPr/>
        </p:nvSpPr>
        <p:spPr>
          <a:xfrm>
            <a:off x="1120403" y="2990276"/>
            <a:ext cx="644333" cy="64433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A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AD7A8CD6-CDA8-DDA0-649C-7EA71ADC627D}"/>
              </a:ext>
            </a:extLst>
          </p:cNvPr>
          <p:cNvSpPr/>
          <p:nvPr/>
        </p:nvSpPr>
        <p:spPr>
          <a:xfrm>
            <a:off x="4885506" y="2999745"/>
            <a:ext cx="644333" cy="64433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A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23554A12-49E1-DE4F-9198-ACFFDE1147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63517" y="3052035"/>
            <a:ext cx="537661" cy="537661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5DF42BC8-4BAD-B5D6-889C-C2B4F7B4C7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57244" y="3019968"/>
            <a:ext cx="537661" cy="537661"/>
          </a:xfrm>
          <a:prstGeom prst="rect">
            <a:avLst/>
          </a:prstGeom>
        </p:spPr>
      </p:pic>
      <p:pic>
        <p:nvPicPr>
          <p:cNvPr id="27" name="Picture 26" descr="Icon&#10;&#10;Description automatically generated">
            <a:extLst>
              <a:ext uri="{FF2B5EF4-FFF2-40B4-BE49-F238E27FC236}">
                <a16:creationId xmlns:a16="http://schemas.microsoft.com/office/drawing/2014/main" id="{44546815-118B-E30A-026C-8F396399CBF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8789" y="1623464"/>
            <a:ext cx="1139842" cy="1190024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3C1EAAE-FFB5-9F2A-7075-9E8F9E302A54}"/>
              </a:ext>
            </a:extLst>
          </p:cNvPr>
          <p:cNvSpPr txBox="1"/>
          <p:nvPr/>
        </p:nvSpPr>
        <p:spPr>
          <a:xfrm>
            <a:off x="5545348" y="3332811"/>
            <a:ext cx="22485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more with less using powerful</a:t>
            </a:r>
            <a:b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omation</a:t>
            </a:r>
            <a:endParaRPr kumimoji="0" lang="en-NL" sz="1200" b="0" i="1" u="none" strike="noStrike" kern="1200" cap="none" spc="0" normalizeH="0" baseline="0" noProof="0">
              <a:ln>
                <a:noFill/>
              </a:ln>
              <a:solidFill>
                <a:srgbClr val="00A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52F1DD8-2A52-4687-E917-44AF72DEF2F8}"/>
              </a:ext>
            </a:extLst>
          </p:cNvPr>
          <p:cNvSpPr txBox="1"/>
          <p:nvPr/>
        </p:nvSpPr>
        <p:spPr>
          <a:xfrm>
            <a:off x="1764736" y="3318455"/>
            <a:ext cx="24688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>
                <a:solidFill>
                  <a:srgbClr val="00AFFF"/>
                </a:solidFill>
                <a:latin typeface="Calibri" panose="020F0502020204030204"/>
              </a:rPr>
              <a:t>Maximize customer impac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A69F359-B15C-A50A-73EA-750C4704E7B5}"/>
              </a:ext>
            </a:extLst>
          </p:cNvPr>
          <p:cNvSpPr txBox="1"/>
          <p:nvPr/>
        </p:nvSpPr>
        <p:spPr>
          <a:xfrm>
            <a:off x="8199039" y="3966014"/>
            <a:ext cx="3473008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2024" marR="0" lvl="0" indent="-192024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9BAB2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Modern App-Only Authentication</a:t>
            </a:r>
          </a:p>
          <a:p>
            <a:pPr marL="192024" marR="0" lvl="0" indent="-192024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9BAB2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Enterprise-Level Certifications</a:t>
            </a:r>
          </a:p>
          <a:p>
            <a:pPr marL="192024" marR="0" lvl="0" indent="-192024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9BAB2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Granular Recovery Options</a:t>
            </a:r>
          </a:p>
          <a:p>
            <a:pPr marL="192024" marR="0" lvl="0" indent="-192024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19BAB2"/>
              </a:buClr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Engineered in the Microsoft Cloud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7F2AE3C-0764-363D-16C7-42C6B97BE1B7}"/>
              </a:ext>
            </a:extLst>
          </p:cNvPr>
          <p:cNvSpPr txBox="1"/>
          <p:nvPr/>
        </p:nvSpPr>
        <p:spPr>
          <a:xfrm>
            <a:off x="9298671" y="3048134"/>
            <a:ext cx="27311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>
                <a:solidFill>
                  <a:srgbClr val="00AFFF"/>
                </a:solidFill>
                <a:latin typeface="Calibri" panose="020F0502020204030204"/>
              </a:rPr>
              <a:t>Secure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EC8C6D4-72A9-6939-AAC8-590A87781144}"/>
              </a:ext>
            </a:extLst>
          </p:cNvPr>
          <p:cNvCxnSpPr>
            <a:cxnSpLocks/>
          </p:cNvCxnSpPr>
          <p:nvPr/>
        </p:nvCxnSpPr>
        <p:spPr>
          <a:xfrm>
            <a:off x="8199040" y="3809866"/>
            <a:ext cx="3279787" cy="0"/>
          </a:xfrm>
          <a:prstGeom prst="line">
            <a:avLst/>
          </a:prstGeom>
          <a:ln w="19050">
            <a:solidFill>
              <a:srgbClr val="19BA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val 43">
            <a:extLst>
              <a:ext uri="{FF2B5EF4-FFF2-40B4-BE49-F238E27FC236}">
                <a16:creationId xmlns:a16="http://schemas.microsoft.com/office/drawing/2014/main" id="{DF907123-AD37-BB9A-8C18-F1A58CE05DC7}"/>
              </a:ext>
            </a:extLst>
          </p:cNvPr>
          <p:cNvSpPr/>
          <p:nvPr/>
        </p:nvSpPr>
        <p:spPr>
          <a:xfrm>
            <a:off x="8665282" y="3018989"/>
            <a:ext cx="644333" cy="64433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A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10F5E260-CB64-6F4E-5BAB-0A3A8244CDC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91735" y="3065540"/>
            <a:ext cx="591427" cy="591427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54C59C6F-7D0F-A647-44CC-1B2FFE242249}"/>
              </a:ext>
            </a:extLst>
          </p:cNvPr>
          <p:cNvSpPr txBox="1"/>
          <p:nvPr/>
        </p:nvSpPr>
        <p:spPr>
          <a:xfrm>
            <a:off x="9309614" y="3338889"/>
            <a:ext cx="21692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iver enterprise-grade </a:t>
            </a:r>
            <a:b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00A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ace of mind</a:t>
            </a:r>
            <a:endParaRPr kumimoji="0" lang="en-NL" sz="1200" b="0" i="1" u="none" strike="noStrike" kern="1200" cap="none" spc="0" normalizeH="0" baseline="0" noProof="0">
              <a:ln>
                <a:noFill/>
              </a:ln>
              <a:solidFill>
                <a:srgbClr val="00A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167DB72-BC3A-5F0A-8F51-35770FAE94EF}"/>
              </a:ext>
            </a:extLst>
          </p:cNvPr>
          <p:cNvGrpSpPr/>
          <p:nvPr/>
        </p:nvGrpSpPr>
        <p:grpSpPr>
          <a:xfrm>
            <a:off x="8665282" y="5457953"/>
            <a:ext cx="2530426" cy="654337"/>
            <a:chOff x="8338113" y="5511515"/>
            <a:chExt cx="2530426" cy="654337"/>
          </a:xfrm>
        </p:grpSpPr>
        <p:pic>
          <p:nvPicPr>
            <p:cNvPr id="50" name="Picture 49" descr="A white circle with blue text and leaves&#10;&#10;Description automatically generated with low confidence">
              <a:extLst>
                <a:ext uri="{FF2B5EF4-FFF2-40B4-BE49-F238E27FC236}">
                  <a16:creationId xmlns:a16="http://schemas.microsoft.com/office/drawing/2014/main" id="{6F31E53B-91D6-B0F6-BE2F-ED853A603C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04395" y="5518633"/>
              <a:ext cx="640101" cy="640101"/>
            </a:xfrm>
            <a:prstGeom prst="rect">
              <a:avLst/>
            </a:prstGeom>
          </p:spPr>
        </p:pic>
        <p:pic>
          <p:nvPicPr>
            <p:cNvPr id="51" name="Picture 50" descr="A white circle with blue text&#10;&#10;Description automatically generated with medium confidence">
              <a:extLst>
                <a:ext uri="{FF2B5EF4-FFF2-40B4-BE49-F238E27FC236}">
                  <a16:creationId xmlns:a16="http://schemas.microsoft.com/office/drawing/2014/main" id="{BDF2E735-DF87-E6DD-095D-FF641D276F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28438" y="5518633"/>
              <a:ext cx="640101" cy="640101"/>
            </a:xfrm>
            <a:prstGeom prst="rect">
              <a:avLst/>
            </a:prstGeom>
          </p:spPr>
        </p:pic>
        <p:pic>
          <p:nvPicPr>
            <p:cNvPr id="52" name="Picture 51" descr="A white circle with blue and green text&#10;&#10;Description automatically generated with low confidence">
              <a:extLst>
                <a:ext uri="{FF2B5EF4-FFF2-40B4-BE49-F238E27FC236}">
                  <a16:creationId xmlns:a16="http://schemas.microsoft.com/office/drawing/2014/main" id="{2E59EC90-57A3-A46D-3510-FAF82228F7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38113" y="5511515"/>
              <a:ext cx="654337" cy="654337"/>
            </a:xfrm>
            <a:prstGeom prst="rect">
              <a:avLst/>
            </a:prstGeom>
          </p:spPr>
        </p:pic>
        <p:pic>
          <p:nvPicPr>
            <p:cNvPr id="53" name="Picture 52" descr="A picture containing circle, logo, font, symbol&#10;&#10;Description automatically generated">
              <a:extLst>
                <a:ext uri="{FF2B5EF4-FFF2-40B4-BE49-F238E27FC236}">
                  <a16:creationId xmlns:a16="http://schemas.microsoft.com/office/drawing/2014/main" id="{DBE6B873-3399-4ECE-0052-89058D5FBF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66117" y="5511515"/>
              <a:ext cx="654337" cy="6543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408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riangle 37">
            <a:extLst>
              <a:ext uri="{FF2B5EF4-FFF2-40B4-BE49-F238E27FC236}">
                <a16:creationId xmlns:a16="http://schemas.microsoft.com/office/drawing/2014/main" id="{83D5B92C-E9D4-B7D5-D70C-3591443D26D6}"/>
              </a:ext>
            </a:extLst>
          </p:cNvPr>
          <p:cNvSpPr/>
          <p:nvPr/>
        </p:nvSpPr>
        <p:spPr>
          <a:xfrm flipV="1">
            <a:off x="1516646" y="4955839"/>
            <a:ext cx="278724" cy="164114"/>
          </a:xfrm>
          <a:prstGeom prst="triangle">
            <a:avLst/>
          </a:prstGeom>
          <a:solidFill>
            <a:srgbClr val="00A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500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riangle 38">
            <a:extLst>
              <a:ext uri="{FF2B5EF4-FFF2-40B4-BE49-F238E27FC236}">
                <a16:creationId xmlns:a16="http://schemas.microsoft.com/office/drawing/2014/main" id="{2F528CB1-D3F2-C22C-5B30-F0A884C9EABD}"/>
              </a:ext>
            </a:extLst>
          </p:cNvPr>
          <p:cNvSpPr/>
          <p:nvPr/>
        </p:nvSpPr>
        <p:spPr>
          <a:xfrm flipV="1">
            <a:off x="3826919" y="4955839"/>
            <a:ext cx="278724" cy="164114"/>
          </a:xfrm>
          <a:prstGeom prst="triangle">
            <a:avLst/>
          </a:prstGeom>
          <a:solidFill>
            <a:srgbClr val="00A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500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riangle 39">
            <a:extLst>
              <a:ext uri="{FF2B5EF4-FFF2-40B4-BE49-F238E27FC236}">
                <a16:creationId xmlns:a16="http://schemas.microsoft.com/office/drawing/2014/main" id="{EC390532-69D0-A94A-96EE-DA8039B53211}"/>
              </a:ext>
            </a:extLst>
          </p:cNvPr>
          <p:cNvSpPr/>
          <p:nvPr/>
        </p:nvSpPr>
        <p:spPr>
          <a:xfrm flipV="1">
            <a:off x="8447465" y="4955839"/>
            <a:ext cx="278724" cy="164114"/>
          </a:xfrm>
          <a:prstGeom prst="triangle">
            <a:avLst/>
          </a:prstGeom>
          <a:solidFill>
            <a:srgbClr val="00A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500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riangle 41">
            <a:extLst>
              <a:ext uri="{FF2B5EF4-FFF2-40B4-BE49-F238E27FC236}">
                <a16:creationId xmlns:a16="http://schemas.microsoft.com/office/drawing/2014/main" id="{83933D92-3C54-01C1-1C6E-7419C4D5ACAC}"/>
              </a:ext>
            </a:extLst>
          </p:cNvPr>
          <p:cNvSpPr/>
          <p:nvPr/>
        </p:nvSpPr>
        <p:spPr>
          <a:xfrm flipV="1">
            <a:off x="10757736" y="4955839"/>
            <a:ext cx="278724" cy="164114"/>
          </a:xfrm>
          <a:prstGeom prst="triangle">
            <a:avLst/>
          </a:prstGeom>
          <a:solidFill>
            <a:srgbClr val="00A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500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ounded Rectangle 4">
            <a:extLst>
              <a:ext uri="{FF2B5EF4-FFF2-40B4-BE49-F238E27FC236}">
                <a16:creationId xmlns:a16="http://schemas.microsoft.com/office/drawing/2014/main" id="{5842AE77-4A03-9448-9701-8DB48180AF5D}"/>
              </a:ext>
            </a:extLst>
          </p:cNvPr>
          <p:cNvSpPr/>
          <p:nvPr/>
        </p:nvSpPr>
        <p:spPr>
          <a:xfrm>
            <a:off x="595281" y="2037030"/>
            <a:ext cx="2121455" cy="2918759"/>
          </a:xfrm>
          <a:prstGeom prst="roundRect">
            <a:avLst>
              <a:gd name="adj" fmla="val 3698"/>
            </a:avLst>
          </a:prstGeom>
          <a:noFill/>
          <a:ln w="12700">
            <a:solidFill>
              <a:srgbClr val="00A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0394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ounded Rectangle 4">
            <a:extLst>
              <a:ext uri="{FF2B5EF4-FFF2-40B4-BE49-F238E27FC236}">
                <a16:creationId xmlns:a16="http://schemas.microsoft.com/office/drawing/2014/main" id="{DAC6E48C-7530-E84C-AD6A-F78C48662211}"/>
              </a:ext>
            </a:extLst>
          </p:cNvPr>
          <p:cNvSpPr/>
          <p:nvPr/>
        </p:nvSpPr>
        <p:spPr>
          <a:xfrm>
            <a:off x="2905554" y="2037030"/>
            <a:ext cx="2121455" cy="2918759"/>
          </a:xfrm>
          <a:prstGeom prst="roundRect">
            <a:avLst>
              <a:gd name="adj" fmla="val 2581"/>
            </a:avLst>
          </a:prstGeom>
          <a:noFill/>
          <a:ln w="12700">
            <a:solidFill>
              <a:srgbClr val="00A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0394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ounded Rectangle 4">
            <a:extLst>
              <a:ext uri="{FF2B5EF4-FFF2-40B4-BE49-F238E27FC236}">
                <a16:creationId xmlns:a16="http://schemas.microsoft.com/office/drawing/2014/main" id="{D9A59C62-F1A1-DA4F-965B-A91299B65BF5}"/>
              </a:ext>
            </a:extLst>
          </p:cNvPr>
          <p:cNvSpPr/>
          <p:nvPr/>
        </p:nvSpPr>
        <p:spPr>
          <a:xfrm>
            <a:off x="5215827" y="2037030"/>
            <a:ext cx="2121455" cy="2918759"/>
          </a:xfrm>
          <a:prstGeom prst="roundRect">
            <a:avLst>
              <a:gd name="adj" fmla="val 2581"/>
            </a:avLst>
          </a:prstGeom>
          <a:noFill/>
          <a:ln w="12700">
            <a:solidFill>
              <a:srgbClr val="00A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0394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ounded Rectangle 4">
            <a:extLst>
              <a:ext uri="{FF2B5EF4-FFF2-40B4-BE49-F238E27FC236}">
                <a16:creationId xmlns:a16="http://schemas.microsoft.com/office/drawing/2014/main" id="{5DB6F7D3-FA36-8341-9E2A-D76B96CD261B}"/>
              </a:ext>
            </a:extLst>
          </p:cNvPr>
          <p:cNvSpPr/>
          <p:nvPr/>
        </p:nvSpPr>
        <p:spPr>
          <a:xfrm>
            <a:off x="7526100" y="2037030"/>
            <a:ext cx="2121455" cy="2918759"/>
          </a:xfrm>
          <a:prstGeom prst="roundRect">
            <a:avLst>
              <a:gd name="adj" fmla="val 2581"/>
            </a:avLst>
          </a:prstGeom>
          <a:noFill/>
          <a:ln w="12700">
            <a:solidFill>
              <a:srgbClr val="00A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0394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1640D1-C199-46E7-9839-24F58D4AC570}"/>
              </a:ext>
            </a:extLst>
          </p:cNvPr>
          <p:cNvSpPr txBox="1"/>
          <p:nvPr/>
        </p:nvSpPr>
        <p:spPr>
          <a:xfrm>
            <a:off x="7622665" y="2750661"/>
            <a:ext cx="1928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S Teams &amp; Group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C0461C9-F921-4306-90F0-CED4DF3F94CC}"/>
              </a:ext>
            </a:extLst>
          </p:cNvPr>
          <p:cNvSpPr txBox="1"/>
          <p:nvPr/>
        </p:nvSpPr>
        <p:spPr>
          <a:xfrm>
            <a:off x="5215976" y="2750661"/>
            <a:ext cx="21211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eDrive for Busines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85009C-ABAA-4E54-8550-55182AF23FA1}"/>
              </a:ext>
            </a:extLst>
          </p:cNvPr>
          <p:cNvSpPr txBox="1"/>
          <p:nvPr/>
        </p:nvSpPr>
        <p:spPr>
          <a:xfrm>
            <a:off x="3002119" y="2750661"/>
            <a:ext cx="1928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ePoint Onlin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21D4020-7880-4925-AEDC-7358A23D949C}"/>
              </a:ext>
            </a:extLst>
          </p:cNvPr>
          <p:cNvSpPr txBox="1"/>
          <p:nvPr/>
        </p:nvSpPr>
        <p:spPr>
          <a:xfrm>
            <a:off x="691846" y="2750661"/>
            <a:ext cx="1928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change Onlin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C3D2EC5-4133-4F39-BD92-A93201ADA275}"/>
              </a:ext>
            </a:extLst>
          </p:cNvPr>
          <p:cNvSpPr txBox="1"/>
          <p:nvPr/>
        </p:nvSpPr>
        <p:spPr>
          <a:xfrm>
            <a:off x="691846" y="3208651"/>
            <a:ext cx="1928324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ail, Calendar, Contacts</a:t>
            </a:r>
          </a:p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sks, Notes, Journal</a:t>
            </a:r>
          </a:p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blic Folders &amp; Shared Mailbox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6208C1A-A727-44E4-8AE6-D13E73A75A21}"/>
              </a:ext>
            </a:extLst>
          </p:cNvPr>
          <p:cNvSpPr txBox="1"/>
          <p:nvPr/>
        </p:nvSpPr>
        <p:spPr>
          <a:xfrm>
            <a:off x="3002119" y="3208651"/>
            <a:ext cx="192832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assic Team Sites</a:t>
            </a:r>
          </a:p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sites</a:t>
            </a:r>
          </a:p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sts</a:t>
            </a:r>
          </a:p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es* and version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F0E6193-0A85-4D98-AA8A-1090DD720A02}"/>
              </a:ext>
            </a:extLst>
          </p:cNvPr>
          <p:cNvSpPr txBox="1"/>
          <p:nvPr/>
        </p:nvSpPr>
        <p:spPr>
          <a:xfrm>
            <a:off x="5311812" y="3208651"/>
            <a:ext cx="1929485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account</a:t>
            </a:r>
          </a:p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lders</a:t>
            </a:r>
          </a:p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es* and version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7FF9645-6E38-4B0A-AD69-D28AB668C87B}"/>
              </a:ext>
            </a:extLst>
          </p:cNvPr>
          <p:cNvSpPr txBox="1"/>
          <p:nvPr/>
        </p:nvSpPr>
        <p:spPr>
          <a:xfrm>
            <a:off x="7622665" y="3208651"/>
            <a:ext cx="1928325" cy="10926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nnels: Private and Public</a:t>
            </a:r>
          </a:p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s Chat</a:t>
            </a:r>
          </a:p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ner</a:t>
            </a:r>
          </a:p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les* and versions</a:t>
            </a: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32CD4205-7810-4717-A560-6D9C81947CC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1400" y="2108256"/>
            <a:ext cx="630855" cy="630855"/>
          </a:xfrm>
          <a:prstGeom prst="rect">
            <a:avLst/>
          </a:prstGeom>
        </p:spPr>
      </p:pic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44E166A1-8CD4-4887-B973-91E26F8C23E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581" y="2108256"/>
            <a:ext cx="630855" cy="630855"/>
          </a:xfrm>
          <a:prstGeom prst="rect">
            <a:avLst/>
          </a:prstGeom>
        </p:spPr>
      </p:pic>
      <p:pic>
        <p:nvPicPr>
          <p:cNvPr id="25" name="Picture 24" descr="Logo, icon&#10;&#10;Description automatically generated">
            <a:extLst>
              <a:ext uri="{FF2B5EF4-FFF2-40B4-BE49-F238E27FC236}">
                <a16:creationId xmlns:a16="http://schemas.microsoft.com/office/drawing/2014/main" id="{F5BBFFEE-3BF3-413D-B6BA-7335F66B2D0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0854" y="2108256"/>
            <a:ext cx="630855" cy="630855"/>
          </a:xfrm>
          <a:prstGeom prst="rect">
            <a:avLst/>
          </a:prstGeom>
        </p:spPr>
      </p:pic>
      <p:pic>
        <p:nvPicPr>
          <p:cNvPr id="26" name="Picture 25" descr="Logo&#10;&#10;Description automatically generated">
            <a:extLst>
              <a:ext uri="{FF2B5EF4-FFF2-40B4-BE49-F238E27FC236}">
                <a16:creationId xmlns:a16="http://schemas.microsoft.com/office/drawing/2014/main" id="{1C891C26-709D-401D-959E-A7B399A0398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127" y="2108256"/>
            <a:ext cx="630855" cy="630855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DC7EC4B-E08D-FD5C-6647-4BDB43601997}"/>
              </a:ext>
            </a:extLst>
          </p:cNvPr>
          <p:cNvSpPr txBox="1"/>
          <p:nvPr/>
        </p:nvSpPr>
        <p:spPr>
          <a:xfrm>
            <a:off x="531855" y="5225314"/>
            <a:ext cx="218488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 item or bulk restore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mailbox restore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oss-mailbox restore</a:t>
            </a:r>
          </a:p>
          <a:p>
            <a:pPr marL="137160" indent="-137160">
              <a:buClr>
                <a:srgbClr val="00AFFF"/>
              </a:buClr>
              <a:buFont typeface="Arial" panose="020B0604020202020204" pitchFamily="34" charset="0"/>
              <a:buChar char="•"/>
              <a:defRPr/>
            </a:pPr>
            <a:r>
              <a:rPr lang="en-GB" sz="1300">
                <a:solidFill>
                  <a:srgbClr val="000000"/>
                </a:solidFill>
              </a:rPr>
              <a:t>Point-in-time restor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23EA6CD-E0F4-BC5A-D5DF-B9CFE82AFB5F}"/>
              </a:ext>
            </a:extLst>
          </p:cNvPr>
          <p:cNvSpPr txBox="1"/>
          <p:nvPr/>
        </p:nvSpPr>
        <p:spPr>
          <a:xfrm>
            <a:off x="2868532" y="5225314"/>
            <a:ext cx="2285108" cy="8925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 item or bulk restore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toration of entire site collection and subsites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int-in-time restor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CAC8F5B-A353-C8D3-8B85-B2E85FF2F4A1}"/>
              </a:ext>
            </a:extLst>
          </p:cNvPr>
          <p:cNvSpPr txBox="1"/>
          <p:nvPr/>
        </p:nvSpPr>
        <p:spPr>
          <a:xfrm>
            <a:off x="5215827" y="5225314"/>
            <a:ext cx="2231109" cy="6924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 item or bulk restore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account recovery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int-in-time restor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56B0EEB-9AFE-C776-20D6-14F0438A0C23}"/>
              </a:ext>
            </a:extLst>
          </p:cNvPr>
          <p:cNvSpPr txBox="1"/>
          <p:nvPr/>
        </p:nvSpPr>
        <p:spPr>
          <a:xfrm>
            <a:off x="7509124" y="5225314"/>
            <a:ext cx="2138431" cy="10926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 item or bulk  restore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restore of Teams and channels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restore of posts and cha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EF154A0-5491-245B-1852-8BA1F4D4D007}"/>
              </a:ext>
            </a:extLst>
          </p:cNvPr>
          <p:cNvSpPr txBox="1"/>
          <p:nvPr/>
        </p:nvSpPr>
        <p:spPr>
          <a:xfrm rot="16200000">
            <a:off x="-299295" y="3208003"/>
            <a:ext cx="1194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CKUP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07976A5-880D-31F5-8DF3-9A0E89BEDD43}"/>
              </a:ext>
            </a:extLst>
          </p:cNvPr>
          <p:cNvSpPr txBox="1"/>
          <p:nvPr/>
        </p:nvSpPr>
        <p:spPr>
          <a:xfrm rot="16200000">
            <a:off x="-299295" y="5417806"/>
            <a:ext cx="11945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TO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6D8A9E-BA65-C31D-4328-E96D783BA0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The most complete Microsoft 365 backup solution</a:t>
            </a:r>
          </a:p>
        </p:txBody>
      </p:sp>
      <p:sp>
        <p:nvSpPr>
          <p:cNvPr id="2" name="Rounded Rectangle 4">
            <a:extLst>
              <a:ext uri="{FF2B5EF4-FFF2-40B4-BE49-F238E27FC236}">
                <a16:creationId xmlns:a16="http://schemas.microsoft.com/office/drawing/2014/main" id="{6CE4360D-8FE7-7313-66EF-7D3FFE17363A}"/>
              </a:ext>
            </a:extLst>
          </p:cNvPr>
          <p:cNvSpPr/>
          <p:nvPr/>
        </p:nvSpPr>
        <p:spPr>
          <a:xfrm>
            <a:off x="9836371" y="2037030"/>
            <a:ext cx="2121455" cy="2918759"/>
          </a:xfrm>
          <a:prstGeom prst="roundRect">
            <a:avLst>
              <a:gd name="adj" fmla="val 2581"/>
            </a:avLst>
          </a:prstGeom>
          <a:noFill/>
          <a:ln w="12700">
            <a:solidFill>
              <a:srgbClr val="00A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0394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ECF62C78-3843-CC3C-2076-521C21E054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3755" y="2222353"/>
            <a:ext cx="366686" cy="40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6063863-7B96-9870-EA09-D1784E9B7ADB}"/>
              </a:ext>
            </a:extLst>
          </p:cNvPr>
          <p:cNvSpPr txBox="1"/>
          <p:nvPr/>
        </p:nvSpPr>
        <p:spPr>
          <a:xfrm>
            <a:off x="9932936" y="2750661"/>
            <a:ext cx="19283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ner</a:t>
            </a:r>
          </a:p>
        </p:txBody>
      </p:sp>
      <p:sp>
        <p:nvSpPr>
          <p:cNvPr id="9" name="Triangle 39">
            <a:extLst>
              <a:ext uri="{FF2B5EF4-FFF2-40B4-BE49-F238E27FC236}">
                <a16:creationId xmlns:a16="http://schemas.microsoft.com/office/drawing/2014/main" id="{958ECA13-0040-EBB3-D72C-220D87CED020}"/>
              </a:ext>
            </a:extLst>
          </p:cNvPr>
          <p:cNvSpPr/>
          <p:nvPr/>
        </p:nvSpPr>
        <p:spPr>
          <a:xfrm flipV="1">
            <a:off x="6137192" y="4955839"/>
            <a:ext cx="278724" cy="164114"/>
          </a:xfrm>
          <a:prstGeom prst="triangle">
            <a:avLst/>
          </a:prstGeom>
          <a:solidFill>
            <a:srgbClr val="00A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E500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E996C2-BCB2-F92A-52DF-0DD459C15EB5}"/>
              </a:ext>
            </a:extLst>
          </p:cNvPr>
          <p:cNvSpPr txBox="1"/>
          <p:nvPr/>
        </p:nvSpPr>
        <p:spPr>
          <a:xfrm>
            <a:off x="9764127" y="5225314"/>
            <a:ext cx="2138431" cy="4924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 item or bulk restore</a:t>
            </a:r>
          </a:p>
          <a:p>
            <a:pPr marL="137160" marR="0" lvl="0" indent="-13716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GB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restore of Plann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55A64FA-4BD7-995A-F38F-F4F4E9A25BB9}"/>
              </a:ext>
            </a:extLst>
          </p:cNvPr>
          <p:cNvSpPr txBox="1"/>
          <p:nvPr/>
        </p:nvSpPr>
        <p:spPr>
          <a:xfrm>
            <a:off x="9931913" y="3208651"/>
            <a:ext cx="1928325" cy="4924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94310" marR="0" lvl="0" indent="-19431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A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 plans, tasks, bucket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8E852F4-437E-84AB-3D9F-F9B1310687C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75566" y="1179565"/>
            <a:ext cx="3571122" cy="692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947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8" grpId="0" animBg="1"/>
      <p:bldP spid="28" grpId="0" animBg="1"/>
      <p:bldP spid="29" grpId="0" animBg="1"/>
      <p:bldP spid="30" grpId="0" animBg="1"/>
      <p:bldP spid="31" grpId="0" animBg="1"/>
      <p:bldP spid="19" grpId="0"/>
      <p:bldP spid="17" grpId="0"/>
      <p:bldP spid="16" grpId="0"/>
      <p:bldP spid="15" grpId="0"/>
      <p:bldP spid="8" grpId="0"/>
      <p:bldP spid="18" grpId="0"/>
      <p:bldP spid="20" grpId="0"/>
      <p:bldP spid="21" grpId="0"/>
      <p:bldP spid="22" grpId="0"/>
      <p:bldP spid="32" grpId="0"/>
      <p:bldP spid="33" grpId="0"/>
      <p:bldP spid="34" grpId="0"/>
      <p:bldP spid="3" grpId="0"/>
      <p:bldP spid="40" grpId="0"/>
      <p:bldP spid="2" grpId="0" animBg="1"/>
      <p:bldP spid="7" grpId="0"/>
      <p:bldP spid="9" grpId="0" animBg="1"/>
      <p:bldP spid="10" grpId="0"/>
      <p:bldP spid="1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3ABA210C-D5B2-47D5-9A3E-22274C79F552}"/>
              </a:ext>
            </a:extLst>
          </p:cNvPr>
          <p:cNvGrpSpPr/>
          <p:nvPr/>
        </p:nvGrpSpPr>
        <p:grpSpPr>
          <a:xfrm>
            <a:off x="6528048" y="1814027"/>
            <a:ext cx="5663952" cy="2313401"/>
            <a:chOff x="7112001" y="2981558"/>
            <a:chExt cx="6415314" cy="1656103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9C1CF046-4A98-4C39-98D3-787CE8537DF3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1" y="2981558"/>
              <a:ext cx="6415314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F18AD02-0FD9-4294-9C40-70D13CD3DD27}"/>
                </a:ext>
              </a:extLst>
            </p:cNvPr>
            <p:cNvCxnSpPr>
              <a:cxnSpLocks/>
            </p:cNvCxnSpPr>
            <p:nvPr/>
          </p:nvCxnSpPr>
          <p:spPr>
            <a:xfrm>
              <a:off x="7112001" y="4637661"/>
              <a:ext cx="6415314" cy="0"/>
            </a:xfrm>
            <a:prstGeom prst="line">
              <a:avLst/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BBA96D6B-CF3F-418D-86A7-4E4AE3113126}"/>
              </a:ext>
            </a:extLst>
          </p:cNvPr>
          <p:cNvGrpSpPr/>
          <p:nvPr/>
        </p:nvGrpSpPr>
        <p:grpSpPr>
          <a:xfrm flipH="1">
            <a:off x="1757342" y="2062842"/>
            <a:ext cx="3493534" cy="3493534"/>
            <a:chOff x="6058850" y="1797808"/>
            <a:chExt cx="3493534" cy="3493534"/>
          </a:xfrm>
          <a:solidFill>
            <a:schemeClr val="accent1"/>
          </a:solidFill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DF93CDC-4104-4E5C-B0A6-2A5F07F0955D}"/>
                </a:ext>
              </a:extLst>
            </p:cNvPr>
            <p:cNvSpPr/>
            <p:nvPr/>
          </p:nvSpPr>
          <p:spPr>
            <a:xfrm>
              <a:off x="6230927" y="1969885"/>
              <a:ext cx="3149380" cy="3149380"/>
            </a:xfrm>
            <a:prstGeom prst="ellipse">
              <a:avLst/>
            </a:prstGeom>
            <a:grpFill/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000" kern="120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  <p:sp>
          <p:nvSpPr>
            <p:cNvPr id="14" name="Arc 13">
              <a:extLst>
                <a:ext uri="{FF2B5EF4-FFF2-40B4-BE49-F238E27FC236}">
                  <a16:creationId xmlns:a16="http://schemas.microsoft.com/office/drawing/2014/main" id="{00DD99C6-24B6-473C-AE3B-567CA994B88F}"/>
                </a:ext>
              </a:extLst>
            </p:cNvPr>
            <p:cNvSpPr/>
            <p:nvPr/>
          </p:nvSpPr>
          <p:spPr>
            <a:xfrm>
              <a:off x="6058850" y="1797808"/>
              <a:ext cx="3493534" cy="3493534"/>
            </a:xfrm>
            <a:prstGeom prst="arc">
              <a:avLst>
                <a:gd name="adj1" fmla="val 5978462"/>
                <a:gd name="adj2" fmla="val 16125116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GB" sz="1000" kern="1200">
                <a:solidFill>
                  <a:srgbClr val="34342B"/>
                </a:solidFill>
                <a:latin typeface="Vodafone Rg" pitchFamily="34" charset="0"/>
                <a:ea typeface="+mn-ea"/>
                <a:cs typeface="+mn-cs"/>
              </a:endParaRPr>
            </a:p>
          </p:txBody>
        </p:sp>
      </p:grpSp>
      <p:sp>
        <p:nvSpPr>
          <p:cNvPr id="17" name="Ellipse 158">
            <a:extLst>
              <a:ext uri="{FF2B5EF4-FFF2-40B4-BE49-F238E27FC236}">
                <a16:creationId xmlns:a16="http://schemas.microsoft.com/office/drawing/2014/main" id="{3D933A82-0850-4592-99B9-D34738FFF099}"/>
              </a:ext>
            </a:extLst>
          </p:cNvPr>
          <p:cNvSpPr/>
          <p:nvPr/>
        </p:nvSpPr>
        <p:spPr>
          <a:xfrm>
            <a:off x="6043906" y="1190325"/>
            <a:ext cx="905075" cy="905072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r"/>
            <a:endParaRPr lang="de-DE" sz="1867">
              <a:solidFill>
                <a:schemeClr val="tx1"/>
              </a:solidFill>
            </a:endParaRPr>
          </a:p>
        </p:txBody>
      </p:sp>
      <p:sp>
        <p:nvSpPr>
          <p:cNvPr id="20" name="Ellipse 158">
            <a:extLst>
              <a:ext uri="{FF2B5EF4-FFF2-40B4-BE49-F238E27FC236}">
                <a16:creationId xmlns:a16="http://schemas.microsoft.com/office/drawing/2014/main" id="{C25CFD26-2994-4B8A-9083-DEA6CDC4B614}"/>
              </a:ext>
            </a:extLst>
          </p:cNvPr>
          <p:cNvSpPr/>
          <p:nvPr/>
        </p:nvSpPr>
        <p:spPr>
          <a:xfrm>
            <a:off x="6043906" y="2464830"/>
            <a:ext cx="905075" cy="905072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r"/>
            <a:endParaRPr lang="de-DE" sz="1867">
              <a:solidFill>
                <a:schemeClr val="tx1"/>
              </a:solidFill>
            </a:endParaRPr>
          </a:p>
        </p:txBody>
      </p:sp>
      <p:sp>
        <p:nvSpPr>
          <p:cNvPr id="21" name="Ellipse 158">
            <a:extLst>
              <a:ext uri="{FF2B5EF4-FFF2-40B4-BE49-F238E27FC236}">
                <a16:creationId xmlns:a16="http://schemas.microsoft.com/office/drawing/2014/main" id="{77D1BA7D-8E92-4D46-9283-6A8B95556D96}"/>
              </a:ext>
            </a:extLst>
          </p:cNvPr>
          <p:cNvSpPr/>
          <p:nvPr/>
        </p:nvSpPr>
        <p:spPr>
          <a:xfrm>
            <a:off x="6043906" y="3974584"/>
            <a:ext cx="905075" cy="905072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r"/>
            <a:endParaRPr lang="de-DE" sz="1867">
              <a:solidFill>
                <a:schemeClr val="tx1"/>
              </a:solidFill>
            </a:endParaRPr>
          </a:p>
        </p:txBody>
      </p:sp>
      <p:sp>
        <p:nvSpPr>
          <p:cNvPr id="13" name="Textfeld 4">
            <a:extLst>
              <a:ext uri="{FF2B5EF4-FFF2-40B4-BE49-F238E27FC236}">
                <a16:creationId xmlns:a16="http://schemas.microsoft.com/office/drawing/2014/main" id="{E3B012EA-7CAC-4280-8880-37E01E8AB5B9}"/>
              </a:ext>
            </a:extLst>
          </p:cNvPr>
          <p:cNvSpPr txBox="1"/>
          <p:nvPr/>
        </p:nvSpPr>
        <p:spPr>
          <a:xfrm>
            <a:off x="2267327" y="2996952"/>
            <a:ext cx="2473564" cy="1490044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ctr">
              <a:defRPr/>
            </a:pPr>
            <a:r>
              <a:rPr lang="en-US" sz="2000" b="1">
                <a:solidFill>
                  <a:schemeClr val="bg1"/>
                </a:solidFill>
                <a:latin typeface="Vodafone Rg" pitchFamily="34" charset="0"/>
              </a:rPr>
              <a:t>General Data Protection Regulation: </a:t>
            </a:r>
            <a:r>
              <a:rPr lang="en-US" sz="2000">
                <a:solidFill>
                  <a:schemeClr val="bg1"/>
                </a:solidFill>
                <a:latin typeface="Vodafone Rg" pitchFamily="34" charset="0"/>
              </a:rPr>
              <a:t>Customers must have backup and recovery in place in case of data loss​</a:t>
            </a:r>
            <a:endParaRPr lang="de-DE" sz="2000">
              <a:solidFill>
                <a:schemeClr val="bg1"/>
              </a:solidFill>
              <a:latin typeface="Vodafone Rg" pitchFamily="34" charset="0"/>
            </a:endParaRPr>
          </a:p>
        </p:txBody>
      </p:sp>
      <p:sp>
        <p:nvSpPr>
          <p:cNvPr id="22" name="Textfeld 25">
            <a:extLst>
              <a:ext uri="{FF2B5EF4-FFF2-40B4-BE49-F238E27FC236}">
                <a16:creationId xmlns:a16="http://schemas.microsoft.com/office/drawing/2014/main" id="{CC051650-0674-4560-A89C-0EA0ED4221C8}"/>
              </a:ext>
            </a:extLst>
          </p:cNvPr>
          <p:cNvSpPr txBox="1"/>
          <p:nvPr/>
        </p:nvSpPr>
        <p:spPr>
          <a:xfrm>
            <a:off x="7261132" y="2711360"/>
            <a:ext cx="4560079" cy="465911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  <a:buClr>
                <a:srgbClr val="E60000"/>
              </a:buClr>
              <a:defRPr/>
            </a:pPr>
            <a:r>
              <a:rPr lang="en-US" sz="1600">
                <a:latin typeface="Vodafone Rg" pitchFamily="34" charset="0"/>
              </a:rPr>
              <a:t>You </a:t>
            </a:r>
            <a:r>
              <a:rPr lang="en-US" sz="1600" b="1">
                <a:latin typeface="Vodafone Rg" pitchFamily="34" charset="0"/>
              </a:rPr>
              <a:t>comply with legal provisions and security &amp; privacy compliance requirements</a:t>
            </a:r>
            <a:r>
              <a:rPr lang="en-US" sz="1600">
                <a:latin typeface="Vodafone Rg" pitchFamily="34" charset="0"/>
              </a:rPr>
              <a:t>. </a:t>
            </a:r>
          </a:p>
          <a:p>
            <a:pPr>
              <a:lnSpc>
                <a:spcPct val="90000"/>
              </a:lnSpc>
              <a:spcAft>
                <a:spcPts val="800"/>
              </a:spcAft>
              <a:buClr>
                <a:srgbClr val="E60000"/>
              </a:buClr>
              <a:defRPr/>
            </a:pPr>
            <a:r>
              <a:rPr lang="en-US" sz="1600">
                <a:latin typeface="Vodafone Rg" pitchFamily="34" charset="0"/>
              </a:rPr>
              <a:t>SkyKick is GDPR compliant, ISO 27001 &amp; Data Pro + certified and a Cloud Security Alliance Trusted Cloud Provider</a:t>
            </a:r>
          </a:p>
        </p:txBody>
      </p:sp>
      <p:sp>
        <p:nvSpPr>
          <p:cNvPr id="23" name="Textfeld 25">
            <a:extLst>
              <a:ext uri="{FF2B5EF4-FFF2-40B4-BE49-F238E27FC236}">
                <a16:creationId xmlns:a16="http://schemas.microsoft.com/office/drawing/2014/main" id="{50D74169-BBE2-44FA-BCDB-66DEEE7EF7CF}"/>
              </a:ext>
            </a:extLst>
          </p:cNvPr>
          <p:cNvSpPr txBox="1"/>
          <p:nvPr/>
        </p:nvSpPr>
        <p:spPr>
          <a:xfrm>
            <a:off x="7261132" y="1406187"/>
            <a:ext cx="4560080" cy="465911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  <a:buClr>
                <a:srgbClr val="E60000"/>
              </a:buClr>
              <a:defRPr/>
            </a:pPr>
            <a:r>
              <a:rPr lang="en-US" sz="1600">
                <a:latin typeface="Vodafone Rg" pitchFamily="34" charset="0"/>
              </a:rPr>
              <a:t>Your backup data stored </a:t>
            </a:r>
            <a:r>
              <a:rPr lang="en-US" sz="1600" b="1">
                <a:latin typeface="Vodafone Rg" pitchFamily="34" charset="0"/>
              </a:rPr>
              <a:t>securely in data center location of your choice </a:t>
            </a:r>
            <a:r>
              <a:rPr lang="en-US" sz="1600">
                <a:latin typeface="Vodafone Rg" pitchFamily="34" charset="0"/>
              </a:rPr>
              <a:t>anywhere in Europe, never leaving the secure Azure cloud</a:t>
            </a:r>
          </a:p>
        </p:txBody>
      </p:sp>
      <p:sp>
        <p:nvSpPr>
          <p:cNvPr id="24" name="Textfeld 25">
            <a:extLst>
              <a:ext uri="{FF2B5EF4-FFF2-40B4-BE49-F238E27FC236}">
                <a16:creationId xmlns:a16="http://schemas.microsoft.com/office/drawing/2014/main" id="{61A9A632-441B-42FD-88E8-7CF644F2CF15}"/>
              </a:ext>
            </a:extLst>
          </p:cNvPr>
          <p:cNvSpPr txBox="1"/>
          <p:nvPr/>
        </p:nvSpPr>
        <p:spPr>
          <a:xfrm>
            <a:off x="7261133" y="4068319"/>
            <a:ext cx="4000742" cy="762497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  <a:buClr>
                <a:srgbClr val="E60000"/>
              </a:buClr>
              <a:defRPr/>
            </a:pPr>
            <a:r>
              <a:rPr lang="en-US" sz="1600" b="1">
                <a:latin typeface="Vodafone Rg" pitchFamily="34" charset="0"/>
              </a:rPr>
              <a:t>Reliable and secure: </a:t>
            </a:r>
            <a:r>
              <a:rPr lang="en-US" sz="1600">
                <a:latin typeface="Vodafone Rg" pitchFamily="34" charset="0"/>
              </a:rPr>
              <a:t>cloud backup is engineered and secured within the Microsoft ecosystem, benefitting from cutting-edge security – additionally secured by SkyKick with a 2048-bit encryption - and 256-bit for end-to-end transmission</a:t>
            </a:r>
            <a:endParaRPr lang="de-DE" sz="1600">
              <a:latin typeface="Vodafone Rg" pitchFamily="34" charset="0"/>
            </a:endParaRPr>
          </a:p>
        </p:txBody>
      </p:sp>
      <p:grpSp>
        <p:nvGrpSpPr>
          <p:cNvPr id="27" name="Graphic 25">
            <a:extLst>
              <a:ext uri="{FF2B5EF4-FFF2-40B4-BE49-F238E27FC236}">
                <a16:creationId xmlns:a16="http://schemas.microsoft.com/office/drawing/2014/main" id="{66DE918B-7FD1-40F5-A7FB-62ED32C776CD}"/>
              </a:ext>
            </a:extLst>
          </p:cNvPr>
          <p:cNvGrpSpPr/>
          <p:nvPr/>
        </p:nvGrpSpPr>
        <p:grpSpPr>
          <a:xfrm>
            <a:off x="6277884" y="1399901"/>
            <a:ext cx="437109" cy="446115"/>
            <a:chOff x="5386387" y="2704528"/>
            <a:chExt cx="1419605" cy="1448848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AB1447D2-CBF3-4FEF-9E92-5C9161E34419}"/>
                </a:ext>
              </a:extLst>
            </p:cNvPr>
            <p:cNvSpPr/>
            <p:nvPr/>
          </p:nvSpPr>
          <p:spPr>
            <a:xfrm>
              <a:off x="5576506" y="3118580"/>
              <a:ext cx="443674" cy="452818"/>
            </a:xfrm>
            <a:custGeom>
              <a:avLst/>
              <a:gdLst>
                <a:gd name="connsiteX0" fmla="*/ 443675 w 443674"/>
                <a:gd name="connsiteY0" fmla="*/ 226409 h 452818"/>
                <a:gd name="connsiteX1" fmla="*/ 221837 w 443674"/>
                <a:gd name="connsiteY1" fmla="*/ 452818 h 452818"/>
                <a:gd name="connsiteX2" fmla="*/ 0 w 443674"/>
                <a:gd name="connsiteY2" fmla="*/ 226409 h 452818"/>
                <a:gd name="connsiteX3" fmla="*/ 221837 w 443674"/>
                <a:gd name="connsiteY3" fmla="*/ 0 h 452818"/>
                <a:gd name="connsiteX4" fmla="*/ 443675 w 443674"/>
                <a:gd name="connsiteY4" fmla="*/ 226409 h 452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674" h="452818">
                  <a:moveTo>
                    <a:pt x="443675" y="226409"/>
                  </a:moveTo>
                  <a:cubicBezTo>
                    <a:pt x="443675" y="351452"/>
                    <a:pt x="344355" y="452818"/>
                    <a:pt x="221837" y="452818"/>
                  </a:cubicBezTo>
                  <a:cubicBezTo>
                    <a:pt x="99320" y="452818"/>
                    <a:pt x="0" y="351452"/>
                    <a:pt x="0" y="226409"/>
                  </a:cubicBezTo>
                  <a:cubicBezTo>
                    <a:pt x="0" y="101367"/>
                    <a:pt x="99320" y="0"/>
                    <a:pt x="221837" y="0"/>
                  </a:cubicBezTo>
                  <a:cubicBezTo>
                    <a:pt x="344355" y="0"/>
                    <a:pt x="443675" y="101367"/>
                    <a:pt x="443675" y="226409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AFAABC5-9932-42D7-8F20-B043C0512838}"/>
                </a:ext>
              </a:extLst>
            </p:cNvPr>
            <p:cNvSpPr/>
            <p:nvPr/>
          </p:nvSpPr>
          <p:spPr>
            <a:xfrm>
              <a:off x="5386387" y="2924175"/>
              <a:ext cx="823912" cy="1229201"/>
            </a:xfrm>
            <a:custGeom>
              <a:avLst/>
              <a:gdLst>
                <a:gd name="connsiteX0" fmla="*/ 532829 w 823912"/>
                <a:gd name="connsiteY0" fmla="*/ 1084326 h 1229201"/>
                <a:gd name="connsiteX1" fmla="*/ 823913 w 823912"/>
                <a:gd name="connsiteY1" fmla="*/ 443103 h 1229201"/>
                <a:gd name="connsiteX2" fmla="*/ 411956 w 823912"/>
                <a:gd name="connsiteY2" fmla="*/ 0 h 1229201"/>
                <a:gd name="connsiteX3" fmla="*/ 0 w 823912"/>
                <a:gd name="connsiteY3" fmla="*/ 435864 h 1229201"/>
                <a:gd name="connsiteX4" fmla="*/ 411956 w 823912"/>
                <a:gd name="connsiteY4" fmla="*/ 1229201 h 1229201"/>
                <a:gd name="connsiteX5" fmla="*/ 532829 w 823912"/>
                <a:gd name="connsiteY5" fmla="*/ 1084326 h 1229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23912" h="1229201">
                  <a:moveTo>
                    <a:pt x="532829" y="1084326"/>
                  </a:moveTo>
                  <a:cubicBezTo>
                    <a:pt x="655225" y="930116"/>
                    <a:pt x="823913" y="667703"/>
                    <a:pt x="823913" y="443103"/>
                  </a:cubicBezTo>
                  <a:cubicBezTo>
                    <a:pt x="823913" y="202502"/>
                    <a:pt x="650272" y="0"/>
                    <a:pt x="411956" y="0"/>
                  </a:cubicBezTo>
                  <a:cubicBezTo>
                    <a:pt x="173641" y="0"/>
                    <a:pt x="0" y="195358"/>
                    <a:pt x="0" y="435864"/>
                  </a:cubicBezTo>
                  <a:cubicBezTo>
                    <a:pt x="0" y="771430"/>
                    <a:pt x="411956" y="1229201"/>
                    <a:pt x="411956" y="1229201"/>
                  </a:cubicBezTo>
                  <a:cubicBezTo>
                    <a:pt x="411956" y="1229201"/>
                    <a:pt x="503587" y="1121283"/>
                    <a:pt x="532829" y="1084326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8844492-41E1-4344-8697-39EF8A195900}"/>
                </a:ext>
              </a:extLst>
            </p:cNvPr>
            <p:cNvSpPr/>
            <p:nvPr/>
          </p:nvSpPr>
          <p:spPr>
            <a:xfrm>
              <a:off x="6507289" y="2855309"/>
              <a:ext cx="150685" cy="153733"/>
            </a:xfrm>
            <a:custGeom>
              <a:avLst/>
              <a:gdLst>
                <a:gd name="connsiteX0" fmla="*/ 150686 w 150685"/>
                <a:gd name="connsiteY0" fmla="*/ 76867 h 153733"/>
                <a:gd name="connsiteX1" fmla="*/ 75343 w 150685"/>
                <a:gd name="connsiteY1" fmla="*/ 153734 h 153733"/>
                <a:gd name="connsiteX2" fmla="*/ 0 w 150685"/>
                <a:gd name="connsiteY2" fmla="*/ 76867 h 153733"/>
                <a:gd name="connsiteX3" fmla="*/ 75343 w 150685"/>
                <a:gd name="connsiteY3" fmla="*/ 0 h 153733"/>
                <a:gd name="connsiteX4" fmla="*/ 150686 w 150685"/>
                <a:gd name="connsiteY4" fmla="*/ 76867 h 153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0685" h="153733">
                  <a:moveTo>
                    <a:pt x="150686" y="76867"/>
                  </a:moveTo>
                  <a:cubicBezTo>
                    <a:pt x="150686" y="119319"/>
                    <a:pt x="116953" y="153734"/>
                    <a:pt x="75343" y="153734"/>
                  </a:cubicBezTo>
                  <a:cubicBezTo>
                    <a:pt x="33732" y="153734"/>
                    <a:pt x="0" y="119319"/>
                    <a:pt x="0" y="76867"/>
                  </a:cubicBezTo>
                  <a:cubicBezTo>
                    <a:pt x="0" y="34414"/>
                    <a:pt x="33732" y="0"/>
                    <a:pt x="75343" y="0"/>
                  </a:cubicBezTo>
                  <a:cubicBezTo>
                    <a:pt x="116953" y="0"/>
                    <a:pt x="150686" y="34414"/>
                    <a:pt x="150686" y="76867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0BB35F6-E865-4D2E-8937-D650689DC638}"/>
                </a:ext>
              </a:extLst>
            </p:cNvPr>
            <p:cNvSpPr/>
            <p:nvPr/>
          </p:nvSpPr>
          <p:spPr>
            <a:xfrm>
              <a:off x="6359556" y="2704528"/>
              <a:ext cx="446436" cy="665321"/>
            </a:xfrm>
            <a:custGeom>
              <a:avLst/>
              <a:gdLst>
                <a:gd name="connsiteX0" fmla="*/ 288893 w 446436"/>
                <a:gd name="connsiteY0" fmla="*/ 586835 h 665321"/>
                <a:gd name="connsiteX1" fmla="*/ 446437 w 446436"/>
                <a:gd name="connsiteY1" fmla="*/ 239649 h 665321"/>
                <a:gd name="connsiteX2" fmla="*/ 223457 w 446436"/>
                <a:gd name="connsiteY2" fmla="*/ 0 h 665321"/>
                <a:gd name="connsiteX3" fmla="*/ 0 w 446436"/>
                <a:gd name="connsiteY3" fmla="*/ 235839 h 665321"/>
                <a:gd name="connsiteX4" fmla="*/ 222980 w 446436"/>
                <a:gd name="connsiteY4" fmla="*/ 665321 h 665321"/>
                <a:gd name="connsiteX5" fmla="*/ 288893 w 446436"/>
                <a:gd name="connsiteY5" fmla="*/ 586835 h 665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6436" h="665321">
                  <a:moveTo>
                    <a:pt x="288893" y="586835"/>
                  </a:moveTo>
                  <a:cubicBezTo>
                    <a:pt x="355568" y="503301"/>
                    <a:pt x="446437" y="361283"/>
                    <a:pt x="446437" y="239649"/>
                  </a:cubicBezTo>
                  <a:cubicBezTo>
                    <a:pt x="446437" y="109442"/>
                    <a:pt x="352425" y="0"/>
                    <a:pt x="223457" y="0"/>
                  </a:cubicBezTo>
                  <a:cubicBezTo>
                    <a:pt x="94488" y="0"/>
                    <a:pt x="0" y="105346"/>
                    <a:pt x="0" y="235839"/>
                  </a:cubicBezTo>
                  <a:cubicBezTo>
                    <a:pt x="0" y="417481"/>
                    <a:pt x="222980" y="665321"/>
                    <a:pt x="222980" y="665321"/>
                  </a:cubicBezTo>
                  <a:cubicBezTo>
                    <a:pt x="222980" y="665321"/>
                    <a:pt x="272605" y="606838"/>
                    <a:pt x="288893" y="586835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B77949-612F-42EF-A270-A2A6CF08C4D7}"/>
                </a:ext>
              </a:extLst>
            </p:cNvPr>
            <p:cNvSpPr/>
            <p:nvPr/>
          </p:nvSpPr>
          <p:spPr>
            <a:xfrm>
              <a:off x="5798343" y="3372421"/>
              <a:ext cx="998982" cy="780954"/>
            </a:xfrm>
            <a:custGeom>
              <a:avLst/>
              <a:gdLst>
                <a:gd name="connsiteX0" fmla="*/ 0 w 998982"/>
                <a:gd name="connsiteY0" fmla="*/ 780955 h 780954"/>
                <a:gd name="connsiteX1" fmla="*/ 495300 w 998982"/>
                <a:gd name="connsiteY1" fmla="*/ 780955 h 780954"/>
                <a:gd name="connsiteX2" fmla="*/ 784574 w 998982"/>
                <a:gd name="connsiteY2" fmla="*/ 325469 h 780954"/>
                <a:gd name="connsiteX3" fmla="*/ 779526 w 998982"/>
                <a:gd name="connsiteY3" fmla="*/ 0 h 78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8982" h="780954">
                  <a:moveTo>
                    <a:pt x="0" y="780955"/>
                  </a:moveTo>
                  <a:lnTo>
                    <a:pt x="495300" y="780955"/>
                  </a:lnTo>
                  <a:cubicBezTo>
                    <a:pt x="1143857" y="780955"/>
                    <a:pt x="1079754" y="417481"/>
                    <a:pt x="784574" y="325469"/>
                  </a:cubicBezTo>
                  <a:cubicBezTo>
                    <a:pt x="528447" y="245554"/>
                    <a:pt x="622649" y="31623"/>
                    <a:pt x="779526" y="0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36" name="Graphic 34">
            <a:extLst>
              <a:ext uri="{FF2B5EF4-FFF2-40B4-BE49-F238E27FC236}">
                <a16:creationId xmlns:a16="http://schemas.microsoft.com/office/drawing/2014/main" id="{EBBECA80-9DDD-4CAE-9A29-B5771827E955}"/>
              </a:ext>
            </a:extLst>
          </p:cNvPr>
          <p:cNvGrpSpPr/>
          <p:nvPr/>
        </p:nvGrpSpPr>
        <p:grpSpPr>
          <a:xfrm>
            <a:off x="6315357" y="2642663"/>
            <a:ext cx="432442" cy="513362"/>
            <a:chOff x="5599747" y="2704147"/>
            <a:chExt cx="1220390" cy="1448752"/>
          </a:xfrm>
        </p:grpSpPr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F5CBA5C9-9A67-42E7-9ED9-5759A404CD2A}"/>
                </a:ext>
              </a:extLst>
            </p:cNvPr>
            <p:cNvSpPr/>
            <p:nvPr/>
          </p:nvSpPr>
          <p:spPr>
            <a:xfrm>
              <a:off x="5599747" y="2744152"/>
              <a:ext cx="991552" cy="1408747"/>
            </a:xfrm>
            <a:custGeom>
              <a:avLst/>
              <a:gdLst>
                <a:gd name="connsiteX0" fmla="*/ 991553 w 991552"/>
                <a:gd name="connsiteY0" fmla="*/ 798195 h 1408747"/>
                <a:gd name="connsiteX1" fmla="*/ 991553 w 991552"/>
                <a:gd name="connsiteY1" fmla="*/ 1279208 h 1408747"/>
                <a:gd name="connsiteX2" fmla="*/ 858203 w 991552"/>
                <a:gd name="connsiteY2" fmla="*/ 1408748 h 1408747"/>
                <a:gd name="connsiteX3" fmla="*/ 133350 w 991552"/>
                <a:gd name="connsiteY3" fmla="*/ 1408748 h 1408747"/>
                <a:gd name="connsiteX4" fmla="*/ 0 w 991552"/>
                <a:gd name="connsiteY4" fmla="*/ 1279208 h 1408747"/>
                <a:gd name="connsiteX5" fmla="*/ 0 w 991552"/>
                <a:gd name="connsiteY5" fmla="*/ 129540 h 1408747"/>
                <a:gd name="connsiteX6" fmla="*/ 133350 w 991552"/>
                <a:gd name="connsiteY6" fmla="*/ 0 h 1408747"/>
                <a:gd name="connsiteX7" fmla="*/ 198120 w 991552"/>
                <a:gd name="connsiteY7" fmla="*/ 0 h 1408747"/>
                <a:gd name="connsiteX8" fmla="*/ 781050 w 991552"/>
                <a:gd name="connsiteY8" fmla="*/ 0 h 1408747"/>
                <a:gd name="connsiteX9" fmla="*/ 858203 w 991552"/>
                <a:gd name="connsiteY9" fmla="*/ 0 h 1408747"/>
                <a:gd name="connsiteX10" fmla="*/ 991553 w 991552"/>
                <a:gd name="connsiteY10" fmla="*/ 129540 h 1408747"/>
                <a:gd name="connsiteX11" fmla="*/ 991553 w 991552"/>
                <a:gd name="connsiteY11" fmla="*/ 530543 h 1408747"/>
                <a:gd name="connsiteX12" fmla="*/ 683895 w 991552"/>
                <a:gd name="connsiteY12" fmla="*/ 684848 h 1408747"/>
                <a:gd name="connsiteX13" fmla="*/ 436245 w 991552"/>
                <a:gd name="connsiteY13" fmla="*/ 684848 h 1408747"/>
                <a:gd name="connsiteX14" fmla="*/ 283845 w 991552"/>
                <a:gd name="connsiteY14" fmla="*/ 684848 h 1408747"/>
                <a:gd name="connsiteX15" fmla="*/ 207645 w 991552"/>
                <a:gd name="connsiteY15" fmla="*/ 684848 h 1408747"/>
                <a:gd name="connsiteX16" fmla="*/ 682943 w 991552"/>
                <a:gd name="connsiteY16" fmla="*/ 494348 h 1408747"/>
                <a:gd name="connsiteX17" fmla="*/ 435292 w 991552"/>
                <a:gd name="connsiteY17" fmla="*/ 494348 h 1408747"/>
                <a:gd name="connsiteX18" fmla="*/ 282892 w 991552"/>
                <a:gd name="connsiteY18" fmla="*/ 494348 h 1408747"/>
                <a:gd name="connsiteX19" fmla="*/ 206692 w 991552"/>
                <a:gd name="connsiteY19" fmla="*/ 494348 h 1408747"/>
                <a:gd name="connsiteX20" fmla="*/ 651510 w 991552"/>
                <a:gd name="connsiteY20" fmla="*/ 875348 h 1408747"/>
                <a:gd name="connsiteX21" fmla="*/ 436245 w 991552"/>
                <a:gd name="connsiteY21" fmla="*/ 875348 h 1408747"/>
                <a:gd name="connsiteX22" fmla="*/ 283845 w 991552"/>
                <a:gd name="connsiteY22" fmla="*/ 875348 h 1408747"/>
                <a:gd name="connsiteX23" fmla="*/ 207645 w 991552"/>
                <a:gd name="connsiteY23" fmla="*/ 875348 h 1408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991552" h="1408747">
                  <a:moveTo>
                    <a:pt x="991553" y="798195"/>
                  </a:moveTo>
                  <a:lnTo>
                    <a:pt x="991553" y="1279208"/>
                  </a:lnTo>
                  <a:cubicBezTo>
                    <a:pt x="991553" y="1350645"/>
                    <a:pt x="931545" y="1408748"/>
                    <a:pt x="858203" y="1408748"/>
                  </a:cubicBezTo>
                  <a:lnTo>
                    <a:pt x="133350" y="1408748"/>
                  </a:lnTo>
                  <a:cubicBezTo>
                    <a:pt x="60007" y="1408748"/>
                    <a:pt x="0" y="1350645"/>
                    <a:pt x="0" y="1279208"/>
                  </a:cubicBezTo>
                  <a:lnTo>
                    <a:pt x="0" y="129540"/>
                  </a:lnTo>
                  <a:cubicBezTo>
                    <a:pt x="0" y="58103"/>
                    <a:pt x="60007" y="0"/>
                    <a:pt x="133350" y="0"/>
                  </a:cubicBezTo>
                  <a:lnTo>
                    <a:pt x="198120" y="0"/>
                  </a:lnTo>
                  <a:moveTo>
                    <a:pt x="781050" y="0"/>
                  </a:moveTo>
                  <a:lnTo>
                    <a:pt x="858203" y="0"/>
                  </a:lnTo>
                  <a:cubicBezTo>
                    <a:pt x="931545" y="0"/>
                    <a:pt x="991553" y="58103"/>
                    <a:pt x="991553" y="129540"/>
                  </a:cubicBezTo>
                  <a:lnTo>
                    <a:pt x="991553" y="530543"/>
                  </a:lnTo>
                  <a:moveTo>
                    <a:pt x="683895" y="684848"/>
                  </a:moveTo>
                  <a:lnTo>
                    <a:pt x="436245" y="684848"/>
                  </a:lnTo>
                  <a:moveTo>
                    <a:pt x="283845" y="684848"/>
                  </a:moveTo>
                  <a:lnTo>
                    <a:pt x="207645" y="684848"/>
                  </a:lnTo>
                  <a:moveTo>
                    <a:pt x="682943" y="494348"/>
                  </a:moveTo>
                  <a:lnTo>
                    <a:pt x="435292" y="494348"/>
                  </a:lnTo>
                  <a:moveTo>
                    <a:pt x="282892" y="494348"/>
                  </a:moveTo>
                  <a:lnTo>
                    <a:pt x="206692" y="494348"/>
                  </a:lnTo>
                  <a:moveTo>
                    <a:pt x="651510" y="875348"/>
                  </a:moveTo>
                  <a:lnTo>
                    <a:pt x="436245" y="875348"/>
                  </a:lnTo>
                  <a:moveTo>
                    <a:pt x="283845" y="875348"/>
                  </a:moveTo>
                  <a:lnTo>
                    <a:pt x="207645" y="875348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9DF5956-277A-4363-A226-306CB4F485FE}"/>
                </a:ext>
              </a:extLst>
            </p:cNvPr>
            <p:cNvSpPr/>
            <p:nvPr/>
          </p:nvSpPr>
          <p:spPr>
            <a:xfrm>
              <a:off x="6095047" y="3180159"/>
              <a:ext cx="725090" cy="725090"/>
            </a:xfrm>
            <a:custGeom>
              <a:avLst/>
              <a:gdLst>
                <a:gd name="connsiteX0" fmla="*/ 157163 w 725090"/>
                <a:gd name="connsiteY0" fmla="*/ 688896 h 725090"/>
                <a:gd name="connsiteX1" fmla="*/ 0 w 725090"/>
                <a:gd name="connsiteY1" fmla="*/ 725091 h 725090"/>
                <a:gd name="connsiteX2" fmla="*/ 36195 w 725090"/>
                <a:gd name="connsiteY2" fmla="*/ 567928 h 725090"/>
                <a:gd name="connsiteX3" fmla="*/ 579120 w 725090"/>
                <a:gd name="connsiteY3" fmla="*/ 25003 h 725090"/>
                <a:gd name="connsiteX4" fmla="*/ 700087 w 725090"/>
                <a:gd name="connsiteY4" fmla="*/ 25003 h 725090"/>
                <a:gd name="connsiteX5" fmla="*/ 700087 w 725090"/>
                <a:gd name="connsiteY5" fmla="*/ 145971 h 725090"/>
                <a:gd name="connsiteX6" fmla="*/ 157163 w 725090"/>
                <a:gd name="connsiteY6" fmla="*/ 688896 h 725090"/>
                <a:gd name="connsiteX7" fmla="*/ 630555 w 725090"/>
                <a:gd name="connsiteY7" fmla="*/ 197406 h 725090"/>
                <a:gd name="connsiteX8" fmla="*/ 519112 w 725090"/>
                <a:gd name="connsiteY8" fmla="*/ 85963 h 725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5090" h="725090">
                  <a:moveTo>
                    <a:pt x="157163" y="688896"/>
                  </a:moveTo>
                  <a:lnTo>
                    <a:pt x="0" y="725091"/>
                  </a:lnTo>
                  <a:lnTo>
                    <a:pt x="36195" y="567928"/>
                  </a:lnTo>
                  <a:lnTo>
                    <a:pt x="579120" y="25003"/>
                  </a:lnTo>
                  <a:cubicBezTo>
                    <a:pt x="612457" y="-8334"/>
                    <a:pt x="666750" y="-8334"/>
                    <a:pt x="700087" y="25003"/>
                  </a:cubicBezTo>
                  <a:cubicBezTo>
                    <a:pt x="733425" y="58341"/>
                    <a:pt x="733425" y="112633"/>
                    <a:pt x="700087" y="145971"/>
                  </a:cubicBezTo>
                  <a:lnTo>
                    <a:pt x="157163" y="688896"/>
                  </a:lnTo>
                  <a:close/>
                  <a:moveTo>
                    <a:pt x="630555" y="197406"/>
                  </a:moveTo>
                  <a:lnTo>
                    <a:pt x="519112" y="85963"/>
                  </a:ln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EDEF5E2-63C8-4F8C-8F2E-E26C84AA0FC7}"/>
                </a:ext>
              </a:extLst>
            </p:cNvPr>
            <p:cNvSpPr/>
            <p:nvPr/>
          </p:nvSpPr>
          <p:spPr>
            <a:xfrm>
              <a:off x="5805487" y="2704147"/>
              <a:ext cx="583882" cy="153352"/>
            </a:xfrm>
            <a:custGeom>
              <a:avLst/>
              <a:gdLst>
                <a:gd name="connsiteX0" fmla="*/ 509588 w 583882"/>
                <a:gd name="connsiteY0" fmla="*/ 153353 h 153352"/>
                <a:gd name="connsiteX1" fmla="*/ 73342 w 583882"/>
                <a:gd name="connsiteY1" fmla="*/ 153353 h 153352"/>
                <a:gd name="connsiteX2" fmla="*/ 0 w 583882"/>
                <a:gd name="connsiteY2" fmla="*/ 0 h 153352"/>
                <a:gd name="connsiteX3" fmla="*/ 583883 w 583882"/>
                <a:gd name="connsiteY3" fmla="*/ 0 h 153352"/>
                <a:gd name="connsiteX4" fmla="*/ 509588 w 583882"/>
                <a:gd name="connsiteY4" fmla="*/ 153353 h 153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3882" h="153352">
                  <a:moveTo>
                    <a:pt x="509588" y="153353"/>
                  </a:moveTo>
                  <a:lnTo>
                    <a:pt x="73342" y="153353"/>
                  </a:lnTo>
                  <a:lnTo>
                    <a:pt x="0" y="0"/>
                  </a:lnTo>
                  <a:lnTo>
                    <a:pt x="583883" y="0"/>
                  </a:lnTo>
                  <a:lnTo>
                    <a:pt x="509588" y="153353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grpSp>
        <p:nvGrpSpPr>
          <p:cNvPr id="44" name="Graphic 42">
            <a:extLst>
              <a:ext uri="{FF2B5EF4-FFF2-40B4-BE49-F238E27FC236}">
                <a16:creationId xmlns:a16="http://schemas.microsoft.com/office/drawing/2014/main" id="{FD4F6433-CCFB-4DAB-83F1-4EF94A57A732}"/>
              </a:ext>
            </a:extLst>
          </p:cNvPr>
          <p:cNvGrpSpPr/>
          <p:nvPr/>
        </p:nvGrpSpPr>
        <p:grpSpPr>
          <a:xfrm>
            <a:off x="6200800" y="4152705"/>
            <a:ext cx="580134" cy="519083"/>
            <a:chOff x="5372100" y="2781185"/>
            <a:chExt cx="1447872" cy="1295515"/>
          </a:xfrm>
        </p:grpSpPr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E01C90F4-3E0D-4038-8E59-452EEE3AD68E}"/>
                </a:ext>
              </a:extLst>
            </p:cNvPr>
            <p:cNvSpPr/>
            <p:nvPr/>
          </p:nvSpPr>
          <p:spPr>
            <a:xfrm>
              <a:off x="5767654" y="3147688"/>
              <a:ext cx="188956" cy="247164"/>
            </a:xfrm>
            <a:custGeom>
              <a:avLst/>
              <a:gdLst>
                <a:gd name="connsiteX0" fmla="*/ 0 w 188956"/>
                <a:gd name="connsiteY0" fmla="*/ 247164 h 247164"/>
                <a:gd name="connsiteX1" fmla="*/ 82506 w 188956"/>
                <a:gd name="connsiteY1" fmla="*/ 115910 h 247164"/>
                <a:gd name="connsiteX2" fmla="*/ 188957 w 188956"/>
                <a:gd name="connsiteY2" fmla="*/ 0 h 247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956" h="247164">
                  <a:moveTo>
                    <a:pt x="0" y="247164"/>
                  </a:moveTo>
                  <a:cubicBezTo>
                    <a:pt x="23460" y="201339"/>
                    <a:pt x="51016" y="157391"/>
                    <a:pt x="82506" y="115910"/>
                  </a:cubicBezTo>
                  <a:cubicBezTo>
                    <a:pt x="114395" y="74124"/>
                    <a:pt x="150028" y="35319"/>
                    <a:pt x="188957" y="0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B055D87-E44E-457A-89D7-B7B9CC806A54}"/>
                </a:ext>
              </a:extLst>
            </p:cNvPr>
            <p:cNvSpPr/>
            <p:nvPr/>
          </p:nvSpPr>
          <p:spPr>
            <a:xfrm>
              <a:off x="6089837" y="2916031"/>
              <a:ext cx="478059" cy="132530"/>
            </a:xfrm>
            <a:custGeom>
              <a:avLst/>
              <a:gdLst>
                <a:gd name="connsiteX0" fmla="*/ 0 w 478059"/>
                <a:gd name="connsiteY0" fmla="*/ 132531 h 132530"/>
                <a:gd name="connsiteX1" fmla="*/ 478060 w 478059"/>
                <a:gd name="connsiteY1" fmla="*/ 0 h 132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78059" h="132530">
                  <a:moveTo>
                    <a:pt x="0" y="132531"/>
                  </a:moveTo>
                  <a:cubicBezTo>
                    <a:pt x="144542" y="46177"/>
                    <a:pt x="309686" y="391"/>
                    <a:pt x="478060" y="0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88D78A3-1732-4F0B-9DA6-BD380C11A3CE}"/>
                </a:ext>
              </a:extLst>
            </p:cNvPr>
            <p:cNvSpPr/>
            <p:nvPr/>
          </p:nvSpPr>
          <p:spPr>
            <a:xfrm>
              <a:off x="6187420" y="3850328"/>
              <a:ext cx="71170" cy="226371"/>
            </a:xfrm>
            <a:custGeom>
              <a:avLst/>
              <a:gdLst>
                <a:gd name="connsiteX0" fmla="*/ 0 w 71170"/>
                <a:gd name="connsiteY0" fmla="*/ 226371 h 226371"/>
                <a:gd name="connsiteX1" fmla="*/ 71171 w 71170"/>
                <a:gd name="connsiteY1" fmla="*/ 0 h 226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1170" h="226371">
                  <a:moveTo>
                    <a:pt x="0" y="226371"/>
                  </a:moveTo>
                  <a:cubicBezTo>
                    <a:pt x="33538" y="154353"/>
                    <a:pt x="57464" y="78248"/>
                    <a:pt x="71171" y="0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F8461BE-B054-4351-937A-9EDF556BEDC1}"/>
                </a:ext>
              </a:extLst>
            </p:cNvPr>
            <p:cNvSpPr/>
            <p:nvPr/>
          </p:nvSpPr>
          <p:spPr>
            <a:xfrm>
              <a:off x="6077473" y="3157061"/>
              <a:ext cx="193814" cy="527580"/>
            </a:xfrm>
            <a:custGeom>
              <a:avLst/>
              <a:gdLst>
                <a:gd name="connsiteX0" fmla="*/ 193815 w 193814"/>
                <a:gd name="connsiteY0" fmla="*/ 527580 h 527580"/>
                <a:gd name="connsiteX1" fmla="*/ 0 w 193814"/>
                <a:gd name="connsiteY1" fmla="*/ 0 h 527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3814" h="527580">
                  <a:moveTo>
                    <a:pt x="193815" y="527580"/>
                  </a:moveTo>
                  <a:cubicBezTo>
                    <a:pt x="189938" y="335013"/>
                    <a:pt x="121710" y="149285"/>
                    <a:pt x="0" y="0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C2C2027-C694-48D2-BD27-D6DA613266BF}"/>
                </a:ext>
              </a:extLst>
            </p:cNvPr>
            <p:cNvSpPr/>
            <p:nvPr/>
          </p:nvSpPr>
          <p:spPr>
            <a:xfrm>
              <a:off x="5776779" y="2915945"/>
              <a:ext cx="184442" cy="122558"/>
            </a:xfrm>
            <a:custGeom>
              <a:avLst/>
              <a:gdLst>
                <a:gd name="connsiteX0" fmla="*/ 184442 w 184442"/>
                <a:gd name="connsiteY0" fmla="*/ 122558 h 122558"/>
                <a:gd name="connsiteX1" fmla="*/ 0 w 184442"/>
                <a:gd name="connsiteY1" fmla="*/ 0 h 122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4442" h="122558">
                  <a:moveTo>
                    <a:pt x="184442" y="122558"/>
                  </a:moveTo>
                  <a:cubicBezTo>
                    <a:pt x="127921" y="74686"/>
                    <a:pt x="66027" y="33557"/>
                    <a:pt x="0" y="0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C78D66F9-1491-4988-890C-0E792893DBF4}"/>
                </a:ext>
              </a:extLst>
            </p:cNvPr>
            <p:cNvSpPr/>
            <p:nvPr/>
          </p:nvSpPr>
          <p:spPr>
            <a:xfrm>
              <a:off x="5582964" y="3092110"/>
              <a:ext cx="355330" cy="67675"/>
            </a:xfrm>
            <a:custGeom>
              <a:avLst/>
              <a:gdLst>
                <a:gd name="connsiteX0" fmla="*/ 0 w 355330"/>
                <a:gd name="connsiteY0" fmla="*/ 67675 h 67675"/>
                <a:gd name="connsiteX1" fmla="*/ 355330 w 355330"/>
                <a:gd name="connsiteY1" fmla="*/ 0 h 67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5330" h="67675">
                  <a:moveTo>
                    <a:pt x="0" y="67675"/>
                  </a:moveTo>
                  <a:cubicBezTo>
                    <a:pt x="113109" y="22908"/>
                    <a:pt x="233677" y="-57"/>
                    <a:pt x="355330" y="0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1ED3031-3094-4C17-AB49-1C543B010486}"/>
                </a:ext>
              </a:extLst>
            </p:cNvPr>
            <p:cNvSpPr/>
            <p:nvPr/>
          </p:nvSpPr>
          <p:spPr>
            <a:xfrm>
              <a:off x="6103477" y="3107959"/>
              <a:ext cx="417633" cy="205063"/>
            </a:xfrm>
            <a:custGeom>
              <a:avLst/>
              <a:gdLst>
                <a:gd name="connsiteX0" fmla="*/ 0 w 417633"/>
                <a:gd name="connsiteY0" fmla="*/ 0 h 205063"/>
                <a:gd name="connsiteX1" fmla="*/ 417633 w 417633"/>
                <a:gd name="connsiteY1" fmla="*/ 205064 h 20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17633" h="205063">
                  <a:moveTo>
                    <a:pt x="0" y="0"/>
                  </a:moveTo>
                  <a:cubicBezTo>
                    <a:pt x="155086" y="29651"/>
                    <a:pt x="299342" y="100479"/>
                    <a:pt x="417633" y="205064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C03BBDF-1D1C-4D42-B491-8331055EAF8A}"/>
                </a:ext>
              </a:extLst>
            </p:cNvPr>
            <p:cNvSpPr/>
            <p:nvPr/>
          </p:nvSpPr>
          <p:spPr>
            <a:xfrm>
              <a:off x="6634543" y="3434314"/>
              <a:ext cx="135264" cy="245040"/>
            </a:xfrm>
            <a:custGeom>
              <a:avLst/>
              <a:gdLst>
                <a:gd name="connsiteX0" fmla="*/ 0 w 135264"/>
                <a:gd name="connsiteY0" fmla="*/ 0 h 245040"/>
                <a:gd name="connsiteX1" fmla="*/ 135265 w 135264"/>
                <a:gd name="connsiteY1" fmla="*/ 245040 h 245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264" h="245040">
                  <a:moveTo>
                    <a:pt x="0" y="0"/>
                  </a:moveTo>
                  <a:cubicBezTo>
                    <a:pt x="57236" y="74362"/>
                    <a:pt x="102842" y="156982"/>
                    <a:pt x="135265" y="245040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A92CE0-9EDB-4320-A8E7-6B61C241DCC5}"/>
                </a:ext>
              </a:extLst>
            </p:cNvPr>
            <p:cNvSpPr/>
            <p:nvPr/>
          </p:nvSpPr>
          <p:spPr>
            <a:xfrm>
              <a:off x="5882363" y="3814267"/>
              <a:ext cx="317506" cy="116185"/>
            </a:xfrm>
            <a:custGeom>
              <a:avLst/>
              <a:gdLst>
                <a:gd name="connsiteX0" fmla="*/ 0 w 317506"/>
                <a:gd name="connsiteY0" fmla="*/ 116186 h 116185"/>
                <a:gd name="connsiteX1" fmla="*/ 317506 w 317506"/>
                <a:gd name="connsiteY1" fmla="*/ 0 h 116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7506" h="116185">
                  <a:moveTo>
                    <a:pt x="0" y="116186"/>
                  </a:moveTo>
                  <a:cubicBezTo>
                    <a:pt x="111757" y="97269"/>
                    <a:pt x="219418" y="57988"/>
                    <a:pt x="317506" y="0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A6CE268-06F5-499F-BF8E-B19CCE71700C}"/>
                </a:ext>
              </a:extLst>
            </p:cNvPr>
            <p:cNvSpPr/>
            <p:nvPr/>
          </p:nvSpPr>
          <p:spPr>
            <a:xfrm>
              <a:off x="6334191" y="3445992"/>
              <a:ext cx="212055" cy="270691"/>
            </a:xfrm>
            <a:custGeom>
              <a:avLst/>
              <a:gdLst>
                <a:gd name="connsiteX0" fmla="*/ 0 w 212055"/>
                <a:gd name="connsiteY0" fmla="*/ 270691 h 270691"/>
                <a:gd name="connsiteX1" fmla="*/ 212055 w 212055"/>
                <a:gd name="connsiteY1" fmla="*/ 0 h 270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2055" h="270691">
                  <a:moveTo>
                    <a:pt x="0" y="270691"/>
                  </a:moveTo>
                  <a:cubicBezTo>
                    <a:pt x="87135" y="194643"/>
                    <a:pt x="159077" y="102803"/>
                    <a:pt x="212055" y="0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A9EBBD27-D258-4692-AABC-B67825DB6FC8}"/>
                </a:ext>
              </a:extLst>
            </p:cNvPr>
            <p:cNvSpPr/>
            <p:nvPr/>
          </p:nvSpPr>
          <p:spPr>
            <a:xfrm>
              <a:off x="6609407" y="2997841"/>
              <a:ext cx="46281" cy="294732"/>
            </a:xfrm>
            <a:custGeom>
              <a:avLst/>
              <a:gdLst>
                <a:gd name="connsiteX0" fmla="*/ 0 w 46281"/>
                <a:gd name="connsiteY0" fmla="*/ 294732 h 294732"/>
                <a:gd name="connsiteX1" fmla="*/ 46282 w 46281"/>
                <a:gd name="connsiteY1" fmla="*/ 0 h 294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281" h="294732">
                  <a:moveTo>
                    <a:pt x="0" y="294732"/>
                  </a:moveTo>
                  <a:cubicBezTo>
                    <a:pt x="29775" y="199282"/>
                    <a:pt x="45368" y="99984"/>
                    <a:pt x="46282" y="0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925571F-851B-4637-8DD2-7CDB026A84BB}"/>
                </a:ext>
              </a:extLst>
            </p:cNvPr>
            <p:cNvSpPr/>
            <p:nvPr/>
          </p:nvSpPr>
          <p:spPr>
            <a:xfrm rot="-716418">
              <a:off x="6497783" y="3287810"/>
              <a:ext cx="166198" cy="166198"/>
            </a:xfrm>
            <a:custGeom>
              <a:avLst/>
              <a:gdLst>
                <a:gd name="connsiteX0" fmla="*/ 166198 w 166198"/>
                <a:gd name="connsiteY0" fmla="*/ 83099 h 166198"/>
                <a:gd name="connsiteX1" fmla="*/ 83099 w 166198"/>
                <a:gd name="connsiteY1" fmla="*/ 166198 h 166198"/>
                <a:gd name="connsiteX2" fmla="*/ 0 w 166198"/>
                <a:gd name="connsiteY2" fmla="*/ 83099 h 166198"/>
                <a:gd name="connsiteX3" fmla="*/ 83099 w 166198"/>
                <a:gd name="connsiteY3" fmla="*/ 0 h 166198"/>
                <a:gd name="connsiteX4" fmla="*/ 166198 w 166198"/>
                <a:gd name="connsiteY4" fmla="*/ 83099 h 16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198" h="166198">
                  <a:moveTo>
                    <a:pt x="166198" y="83099"/>
                  </a:moveTo>
                  <a:cubicBezTo>
                    <a:pt x="166198" y="128994"/>
                    <a:pt x="128994" y="166198"/>
                    <a:pt x="83099" y="166198"/>
                  </a:cubicBezTo>
                  <a:cubicBezTo>
                    <a:pt x="37205" y="166198"/>
                    <a:pt x="0" y="128994"/>
                    <a:pt x="0" y="83099"/>
                  </a:cubicBezTo>
                  <a:cubicBezTo>
                    <a:pt x="0" y="37205"/>
                    <a:pt x="37205" y="0"/>
                    <a:pt x="83099" y="0"/>
                  </a:cubicBezTo>
                  <a:cubicBezTo>
                    <a:pt x="128994" y="0"/>
                    <a:pt x="166198" y="37205"/>
                    <a:pt x="166198" y="83099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3131BC29-7930-4BF2-AACE-F629454FFD99}"/>
                </a:ext>
              </a:extLst>
            </p:cNvPr>
            <p:cNvSpPr/>
            <p:nvPr/>
          </p:nvSpPr>
          <p:spPr>
            <a:xfrm rot="-716418">
              <a:off x="6185899" y="3684925"/>
              <a:ext cx="166198" cy="166198"/>
            </a:xfrm>
            <a:custGeom>
              <a:avLst/>
              <a:gdLst>
                <a:gd name="connsiteX0" fmla="*/ 166198 w 166198"/>
                <a:gd name="connsiteY0" fmla="*/ 83099 h 166198"/>
                <a:gd name="connsiteX1" fmla="*/ 83099 w 166198"/>
                <a:gd name="connsiteY1" fmla="*/ 166198 h 166198"/>
                <a:gd name="connsiteX2" fmla="*/ 0 w 166198"/>
                <a:gd name="connsiteY2" fmla="*/ 83099 h 166198"/>
                <a:gd name="connsiteX3" fmla="*/ 83099 w 166198"/>
                <a:gd name="connsiteY3" fmla="*/ 0 h 166198"/>
                <a:gd name="connsiteX4" fmla="*/ 166198 w 166198"/>
                <a:gd name="connsiteY4" fmla="*/ 83099 h 16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198" h="166198">
                  <a:moveTo>
                    <a:pt x="166198" y="83099"/>
                  </a:moveTo>
                  <a:cubicBezTo>
                    <a:pt x="166198" y="128994"/>
                    <a:pt x="128994" y="166198"/>
                    <a:pt x="83099" y="166198"/>
                  </a:cubicBezTo>
                  <a:cubicBezTo>
                    <a:pt x="37205" y="166198"/>
                    <a:pt x="0" y="128994"/>
                    <a:pt x="0" y="83099"/>
                  </a:cubicBezTo>
                  <a:cubicBezTo>
                    <a:pt x="0" y="37205"/>
                    <a:pt x="37205" y="0"/>
                    <a:pt x="83099" y="0"/>
                  </a:cubicBezTo>
                  <a:cubicBezTo>
                    <a:pt x="128994" y="0"/>
                    <a:pt x="166198" y="37205"/>
                    <a:pt x="166198" y="83099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76AE9C13-2664-4775-BCBD-DF3FE610E59D}"/>
                </a:ext>
              </a:extLst>
            </p:cNvPr>
            <p:cNvSpPr/>
            <p:nvPr/>
          </p:nvSpPr>
          <p:spPr>
            <a:xfrm rot="-716418">
              <a:off x="5938232" y="3012696"/>
              <a:ext cx="166198" cy="166198"/>
            </a:xfrm>
            <a:custGeom>
              <a:avLst/>
              <a:gdLst>
                <a:gd name="connsiteX0" fmla="*/ 166198 w 166198"/>
                <a:gd name="connsiteY0" fmla="*/ 83099 h 166198"/>
                <a:gd name="connsiteX1" fmla="*/ 83099 w 166198"/>
                <a:gd name="connsiteY1" fmla="*/ 166198 h 166198"/>
                <a:gd name="connsiteX2" fmla="*/ 0 w 166198"/>
                <a:gd name="connsiteY2" fmla="*/ 83099 h 166198"/>
                <a:gd name="connsiteX3" fmla="*/ 83099 w 166198"/>
                <a:gd name="connsiteY3" fmla="*/ 0 h 166198"/>
                <a:gd name="connsiteX4" fmla="*/ 166198 w 166198"/>
                <a:gd name="connsiteY4" fmla="*/ 83099 h 1661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6198" h="166198">
                  <a:moveTo>
                    <a:pt x="166198" y="83099"/>
                  </a:moveTo>
                  <a:cubicBezTo>
                    <a:pt x="166198" y="128994"/>
                    <a:pt x="128994" y="166198"/>
                    <a:pt x="83099" y="166198"/>
                  </a:cubicBezTo>
                  <a:cubicBezTo>
                    <a:pt x="37205" y="166198"/>
                    <a:pt x="0" y="128994"/>
                    <a:pt x="0" y="83099"/>
                  </a:cubicBezTo>
                  <a:cubicBezTo>
                    <a:pt x="0" y="37205"/>
                    <a:pt x="37205" y="0"/>
                    <a:pt x="83099" y="0"/>
                  </a:cubicBezTo>
                  <a:cubicBezTo>
                    <a:pt x="128994" y="0"/>
                    <a:pt x="166198" y="37205"/>
                    <a:pt x="166198" y="83099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5D8D27D-A434-4BB5-94A1-6F8E58E8A113}"/>
                </a:ext>
              </a:extLst>
            </p:cNvPr>
            <p:cNvSpPr/>
            <p:nvPr/>
          </p:nvSpPr>
          <p:spPr>
            <a:xfrm>
              <a:off x="5524785" y="2781185"/>
              <a:ext cx="1295187" cy="1295498"/>
            </a:xfrm>
            <a:custGeom>
              <a:avLst/>
              <a:gdLst>
                <a:gd name="connsiteX0" fmla="*/ 295370 w 1295187"/>
                <a:gd name="connsiteY0" fmla="*/ 1191616 h 1295498"/>
                <a:gd name="connsiteX1" fmla="*/ 1059371 w 1295187"/>
                <a:gd name="connsiteY1" fmla="*/ 1147639 h 1295498"/>
                <a:gd name="connsiteX2" fmla="*/ 1147296 w 1295187"/>
                <a:gd name="connsiteY2" fmla="*/ 235801 h 1295498"/>
                <a:gd name="connsiteX3" fmla="*/ 647471 w 1295187"/>
                <a:gd name="connsiteY3" fmla="*/ 0 h 1295498"/>
                <a:gd name="connsiteX4" fmla="*/ 235468 w 1295187"/>
                <a:gd name="connsiteY4" fmla="*/ 147876 h 1295498"/>
                <a:gd name="connsiteX5" fmla="*/ 0 w 1295187"/>
                <a:gd name="connsiteY5" fmla="*/ 628765 h 12954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5187" h="1295498">
                  <a:moveTo>
                    <a:pt x="295370" y="1191616"/>
                  </a:moveTo>
                  <a:cubicBezTo>
                    <a:pt x="526066" y="1341035"/>
                    <a:pt x="835971" y="1331748"/>
                    <a:pt x="1059371" y="1147639"/>
                  </a:cubicBezTo>
                  <a:cubicBezTo>
                    <a:pt x="1335443" y="920125"/>
                    <a:pt x="1374810" y="511883"/>
                    <a:pt x="1147296" y="235801"/>
                  </a:cubicBezTo>
                  <a:cubicBezTo>
                    <a:pt x="1024261" y="86506"/>
                    <a:pt x="840934" y="19"/>
                    <a:pt x="647471" y="0"/>
                  </a:cubicBezTo>
                  <a:cubicBezTo>
                    <a:pt x="497119" y="-114"/>
                    <a:pt x="351425" y="52169"/>
                    <a:pt x="235468" y="147876"/>
                  </a:cubicBezTo>
                  <a:cubicBezTo>
                    <a:pt x="85420" y="271529"/>
                    <a:pt x="5353" y="448571"/>
                    <a:pt x="0" y="628765"/>
                  </a:cubicBezTo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71E60732-D412-477E-B561-B2C49E24A00D}"/>
                </a:ext>
              </a:extLst>
            </p:cNvPr>
            <p:cNvSpPr/>
            <p:nvPr/>
          </p:nvSpPr>
          <p:spPr>
            <a:xfrm>
              <a:off x="5372100" y="3400425"/>
              <a:ext cx="533904" cy="676275"/>
            </a:xfrm>
            <a:custGeom>
              <a:avLst/>
              <a:gdLst>
                <a:gd name="connsiteX0" fmla="*/ 266948 w 533904"/>
                <a:gd name="connsiteY0" fmla="*/ 0 h 676275"/>
                <a:gd name="connsiteX1" fmla="*/ 0 w 533904"/>
                <a:gd name="connsiteY1" fmla="*/ 59665 h 676275"/>
                <a:gd name="connsiteX2" fmla="*/ 0 w 533904"/>
                <a:gd name="connsiteY2" fmla="*/ 403679 h 676275"/>
                <a:gd name="connsiteX3" fmla="*/ 48054 w 533904"/>
                <a:gd name="connsiteY3" fmla="*/ 502006 h 676275"/>
                <a:gd name="connsiteX4" fmla="*/ 146294 w 533904"/>
                <a:gd name="connsiteY4" fmla="*/ 595436 h 676275"/>
                <a:gd name="connsiteX5" fmla="*/ 266957 w 533904"/>
                <a:gd name="connsiteY5" fmla="*/ 676275 h 676275"/>
                <a:gd name="connsiteX6" fmla="*/ 387620 w 533904"/>
                <a:gd name="connsiteY6" fmla="*/ 595255 h 676275"/>
                <a:gd name="connsiteX7" fmla="*/ 485813 w 533904"/>
                <a:gd name="connsiteY7" fmla="*/ 501825 h 676275"/>
                <a:gd name="connsiteX8" fmla="*/ 533905 w 533904"/>
                <a:gd name="connsiteY8" fmla="*/ 403679 h 676275"/>
                <a:gd name="connsiteX9" fmla="*/ 533905 w 533904"/>
                <a:gd name="connsiteY9" fmla="*/ 59665 h 676275"/>
                <a:gd name="connsiteX10" fmla="*/ 266948 w 533904"/>
                <a:gd name="connsiteY10" fmla="*/ 0 h 676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33904" h="676275">
                  <a:moveTo>
                    <a:pt x="266948" y="0"/>
                  </a:moveTo>
                  <a:lnTo>
                    <a:pt x="0" y="59665"/>
                  </a:lnTo>
                  <a:lnTo>
                    <a:pt x="0" y="403679"/>
                  </a:lnTo>
                  <a:cubicBezTo>
                    <a:pt x="0" y="434292"/>
                    <a:pt x="21707" y="467344"/>
                    <a:pt x="48054" y="502006"/>
                  </a:cubicBezTo>
                  <a:cubicBezTo>
                    <a:pt x="71409" y="532657"/>
                    <a:pt x="104470" y="564023"/>
                    <a:pt x="146294" y="595436"/>
                  </a:cubicBezTo>
                  <a:cubicBezTo>
                    <a:pt x="198530" y="634146"/>
                    <a:pt x="241106" y="662930"/>
                    <a:pt x="266957" y="676275"/>
                  </a:cubicBezTo>
                  <a:cubicBezTo>
                    <a:pt x="292856" y="662930"/>
                    <a:pt x="335385" y="634146"/>
                    <a:pt x="387620" y="595255"/>
                  </a:cubicBezTo>
                  <a:cubicBezTo>
                    <a:pt x="429482" y="564109"/>
                    <a:pt x="462496" y="532657"/>
                    <a:pt x="485813" y="501825"/>
                  </a:cubicBezTo>
                  <a:cubicBezTo>
                    <a:pt x="512150" y="467163"/>
                    <a:pt x="533905" y="434283"/>
                    <a:pt x="533905" y="403679"/>
                  </a:cubicBezTo>
                  <a:lnTo>
                    <a:pt x="533905" y="59665"/>
                  </a:lnTo>
                  <a:lnTo>
                    <a:pt x="266948" y="0"/>
                  </a:ln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B7CA2CF5-622C-44E2-9897-C333C0EF0330}"/>
                </a:ext>
              </a:extLst>
            </p:cNvPr>
            <p:cNvSpPr/>
            <p:nvPr/>
          </p:nvSpPr>
          <p:spPr>
            <a:xfrm>
              <a:off x="5638800" y="3657600"/>
              <a:ext cx="9525" cy="152400"/>
            </a:xfrm>
            <a:custGeom>
              <a:avLst/>
              <a:gdLst>
                <a:gd name="connsiteX0" fmla="*/ 0 w 9525"/>
                <a:gd name="connsiteY0" fmla="*/ 0 h 152400"/>
                <a:gd name="connsiteX1" fmla="*/ 0 w 9525"/>
                <a:gd name="connsiteY1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152400">
                  <a:moveTo>
                    <a:pt x="0" y="0"/>
                  </a:moveTo>
                  <a:lnTo>
                    <a:pt x="0" y="152400"/>
                  </a:lnTo>
                </a:path>
              </a:pathLst>
            </a:custGeom>
            <a:ln w="25400" cap="rnd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688F78D2-8DE0-48DE-B2B3-2C41AE1356CD}"/>
                </a:ext>
              </a:extLst>
            </p:cNvPr>
            <p:cNvSpPr/>
            <p:nvPr/>
          </p:nvSpPr>
          <p:spPr>
            <a:xfrm>
              <a:off x="5600700" y="3619500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9B3739C-A8D0-42B5-A2D0-C220E8EF712B}"/>
                </a:ext>
              </a:extLst>
            </p:cNvPr>
            <p:cNvSpPr/>
            <p:nvPr/>
          </p:nvSpPr>
          <p:spPr>
            <a:xfrm>
              <a:off x="5619750" y="3638550"/>
              <a:ext cx="38100" cy="38100"/>
            </a:xfrm>
            <a:custGeom>
              <a:avLst/>
              <a:gdLst>
                <a:gd name="connsiteX0" fmla="*/ 38100 w 38100"/>
                <a:gd name="connsiteY0" fmla="*/ 19050 h 38100"/>
                <a:gd name="connsiteX1" fmla="*/ 19050 w 38100"/>
                <a:gd name="connsiteY1" fmla="*/ 38100 h 38100"/>
                <a:gd name="connsiteX2" fmla="*/ 0 w 38100"/>
                <a:gd name="connsiteY2" fmla="*/ 19050 h 38100"/>
                <a:gd name="connsiteX3" fmla="*/ 19050 w 38100"/>
                <a:gd name="connsiteY3" fmla="*/ 0 h 38100"/>
                <a:gd name="connsiteX4" fmla="*/ 38100 w 38100"/>
                <a:gd name="connsiteY4" fmla="*/ 1905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8100" y="19050"/>
                  </a:moveTo>
                  <a:cubicBezTo>
                    <a:pt x="38100" y="29571"/>
                    <a:pt x="29571" y="38100"/>
                    <a:pt x="19050" y="38100"/>
                  </a:cubicBezTo>
                  <a:cubicBezTo>
                    <a:pt x="8529" y="38100"/>
                    <a:pt x="0" y="29571"/>
                    <a:pt x="0" y="19050"/>
                  </a:cubicBezTo>
                  <a:cubicBezTo>
                    <a:pt x="0" y="8529"/>
                    <a:pt x="8529" y="0"/>
                    <a:pt x="19050" y="0"/>
                  </a:cubicBezTo>
                  <a:cubicBezTo>
                    <a:pt x="29571" y="0"/>
                    <a:pt x="38100" y="8529"/>
                    <a:pt x="38100" y="19050"/>
                  </a:cubicBezTo>
                  <a:close/>
                </a:path>
              </a:pathLst>
            </a:custGeom>
            <a:noFill/>
            <a:ln w="25400" cap="rnd">
              <a:solidFill>
                <a:schemeClr val="bg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D11363B-0A31-39A1-1965-9C9EAF69D4B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6934" y="206876"/>
            <a:ext cx="10744200" cy="558800"/>
          </a:xfrm>
        </p:spPr>
        <p:txBody>
          <a:bodyPr>
            <a:normAutofit/>
          </a:bodyPr>
          <a:lstStyle/>
          <a:p>
            <a:r>
              <a:rPr lang="en-US" dirty="0"/>
              <a:t>Encrypted and secure: GDPR-compliant backups on servers in EU</a:t>
            </a:r>
            <a:endParaRPr lang="en-NL" dirty="0"/>
          </a:p>
        </p:txBody>
      </p:sp>
      <p:pic>
        <p:nvPicPr>
          <p:cNvPr id="5" name="Picture 4" descr="A white circle with blue and green text&#10;&#10;Description automatically generated with low confidence">
            <a:extLst>
              <a:ext uri="{FF2B5EF4-FFF2-40B4-BE49-F238E27FC236}">
                <a16:creationId xmlns:a16="http://schemas.microsoft.com/office/drawing/2014/main" id="{7391B368-D5E7-0AA8-0E3E-1CCFDF902F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9" y="3645299"/>
            <a:ext cx="1402630" cy="1402630"/>
          </a:xfrm>
          <a:prstGeom prst="rect">
            <a:avLst/>
          </a:prstGeom>
        </p:spPr>
      </p:pic>
      <p:pic>
        <p:nvPicPr>
          <p:cNvPr id="6" name="Picture 5" descr="A picture containing circle, logo, font, symbol&#10;&#10;Description automatically generated">
            <a:extLst>
              <a:ext uri="{FF2B5EF4-FFF2-40B4-BE49-F238E27FC236}">
                <a16:creationId xmlns:a16="http://schemas.microsoft.com/office/drawing/2014/main" id="{84A3BA01-A398-84EB-DAD4-457C16E911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9" y="4964456"/>
            <a:ext cx="1402630" cy="1402630"/>
          </a:xfrm>
          <a:prstGeom prst="rect">
            <a:avLst/>
          </a:prstGeom>
        </p:spPr>
      </p:pic>
      <p:pic>
        <p:nvPicPr>
          <p:cNvPr id="7" name="Picture 6" descr="A white circle with blue text and leaves&#10;&#10;Description automatically generated with low confidence">
            <a:extLst>
              <a:ext uri="{FF2B5EF4-FFF2-40B4-BE49-F238E27FC236}">
                <a16:creationId xmlns:a16="http://schemas.microsoft.com/office/drawing/2014/main" id="{CF7D18E2-0462-8865-8079-19F5E2F8E6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78" y="1068017"/>
            <a:ext cx="1372113" cy="1372113"/>
          </a:xfrm>
          <a:prstGeom prst="rect">
            <a:avLst/>
          </a:prstGeom>
        </p:spPr>
      </p:pic>
      <p:pic>
        <p:nvPicPr>
          <p:cNvPr id="8" name="Picture 7" descr="A white circle with blue text&#10;&#10;Description automatically generated with medium confidence">
            <a:extLst>
              <a:ext uri="{FF2B5EF4-FFF2-40B4-BE49-F238E27FC236}">
                <a16:creationId xmlns:a16="http://schemas.microsoft.com/office/drawing/2014/main" id="{D1F86FA2-042B-6141-32E3-F3732227AB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78" y="2356658"/>
            <a:ext cx="1372113" cy="1372113"/>
          </a:xfrm>
          <a:prstGeom prst="rect">
            <a:avLst/>
          </a:prstGeom>
        </p:spPr>
      </p:pic>
      <p:sp>
        <p:nvSpPr>
          <p:cNvPr id="25" name="Ellipse 158">
            <a:extLst>
              <a:ext uri="{FF2B5EF4-FFF2-40B4-BE49-F238E27FC236}">
                <a16:creationId xmlns:a16="http://schemas.microsoft.com/office/drawing/2014/main" id="{5E894858-1757-34B1-903E-52DFAABE12CA}"/>
              </a:ext>
            </a:extLst>
          </p:cNvPr>
          <p:cNvSpPr/>
          <p:nvPr/>
        </p:nvSpPr>
        <p:spPr>
          <a:xfrm>
            <a:off x="6043906" y="5343890"/>
            <a:ext cx="905075" cy="905072"/>
          </a:xfrm>
          <a:prstGeom prst="ellipse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r"/>
            <a:endParaRPr lang="de-DE" sz="1867">
              <a:solidFill>
                <a:schemeClr val="tx1"/>
              </a:solidFill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6A0AF83B-AE2D-E38A-2AE7-4CEF781ED8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120247" y="5384299"/>
            <a:ext cx="754380" cy="754380"/>
          </a:xfrm>
          <a:prstGeom prst="rect">
            <a:avLst/>
          </a:prstGeom>
        </p:spPr>
      </p:pic>
      <p:sp>
        <p:nvSpPr>
          <p:cNvPr id="34" name="Textfeld 25">
            <a:extLst>
              <a:ext uri="{FF2B5EF4-FFF2-40B4-BE49-F238E27FC236}">
                <a16:creationId xmlns:a16="http://schemas.microsoft.com/office/drawing/2014/main" id="{16AF20F2-C3FD-7CD4-AE1F-953F23EBAC9D}"/>
              </a:ext>
            </a:extLst>
          </p:cNvPr>
          <p:cNvSpPr txBox="1"/>
          <p:nvPr/>
        </p:nvSpPr>
        <p:spPr>
          <a:xfrm>
            <a:off x="7310290" y="5450601"/>
            <a:ext cx="4000742" cy="762497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800"/>
              </a:spcAft>
              <a:buClr>
                <a:srgbClr val="E60000"/>
              </a:buClr>
              <a:defRPr/>
            </a:pPr>
            <a:r>
              <a:rPr lang="en-US" sz="1600" b="1">
                <a:latin typeface="Vodafone Rg" pitchFamily="34" charset="0"/>
              </a:rPr>
              <a:t>Modern App-Only Authentication: </a:t>
            </a:r>
            <a:r>
              <a:rPr lang="en-US" sz="1600">
                <a:latin typeface="Vodafone Rg" pitchFamily="34" charset="0"/>
              </a:rPr>
              <a:t>Secure access leveraging latest Microsoft APIs</a:t>
            </a:r>
          </a:p>
          <a:p>
            <a:pPr>
              <a:lnSpc>
                <a:spcPct val="90000"/>
              </a:lnSpc>
              <a:spcAft>
                <a:spcPts val="800"/>
              </a:spcAft>
              <a:buClr>
                <a:srgbClr val="E60000"/>
              </a:buClr>
              <a:defRPr/>
            </a:pPr>
            <a:endParaRPr lang="de-DE" sz="1600">
              <a:latin typeface="Vodafone Rg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8113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EA87BFF-4E2C-7266-A634-CCCF1D8684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2037" y="2085779"/>
            <a:ext cx="9134467" cy="1504101"/>
          </a:xfrm>
        </p:spPr>
        <p:txBody>
          <a:bodyPr/>
          <a:lstStyle/>
          <a:p>
            <a:r>
              <a:rPr lang="en-US"/>
              <a:t>SkyKick </a:t>
            </a:r>
            <a:r>
              <a:rPr lang="en-GB"/>
              <a:t>Cloud Backup subscription creation and configuration</a:t>
            </a:r>
            <a:br>
              <a:rPr lang="en-GB"/>
            </a:br>
            <a:br>
              <a:rPr lang="en-US"/>
            </a:br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4CE2AD-938E-8C18-68A4-93EF613987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6CDE6C9-D2F3-4067-A406-700E0D51E016}"/>
              </a:ext>
            </a:extLst>
          </p:cNvPr>
          <p:cNvSpPr txBox="1">
            <a:spLocks/>
          </p:cNvSpPr>
          <p:nvPr/>
        </p:nvSpPr>
        <p:spPr>
          <a:xfrm>
            <a:off x="3669792" y="3429001"/>
            <a:ext cx="5803392" cy="16812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>
              <a:latin typeface="+mj-lt"/>
            </a:endParaRPr>
          </a:p>
          <a:p>
            <a:pPr algn="l"/>
            <a:endParaRPr lang="en-US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0793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Get Starte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D0C4374-E8A5-3951-C9AF-872A5FC080C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03"/>
          <a:stretch/>
        </p:blipFill>
        <p:spPr>
          <a:xfrm>
            <a:off x="808074" y="1156438"/>
            <a:ext cx="10393326" cy="12858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B1714ED-DAF0-686F-1032-15B565E4683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41" t="1947"/>
          <a:stretch/>
        </p:blipFill>
        <p:spPr>
          <a:xfrm>
            <a:off x="808074" y="2721935"/>
            <a:ext cx="4487826" cy="271779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61B65A0-169B-AA2A-5864-308A927D6F7C}"/>
              </a:ext>
            </a:extLst>
          </p:cNvPr>
          <p:cNvSpPr txBox="1"/>
          <p:nvPr/>
        </p:nvSpPr>
        <p:spPr>
          <a:xfrm>
            <a:off x="403866" y="6405201"/>
            <a:ext cx="109905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BE" sz="1400" i="1">
                <a:solidFill>
                  <a:schemeClr val="bg1"/>
                </a:solidFill>
                <a:hlinkClick r:id="rId5"/>
              </a:rPr>
              <a:t>https://support.skykick.com/hc/en-us/articles/11878217248147-Cloud-Backup-subscription-creation-and-configuration-Updated-</a:t>
            </a:r>
            <a:endParaRPr lang="en-BE" sz="1400" i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564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Select the data for protec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CA943E6-F463-AACB-CB17-DA38F30345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082968"/>
            <a:ext cx="8583062" cy="5131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791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376786-10ED-4955-32AF-A309C20547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Cloud Backup Set Up: Select the users for data protec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84387A-EA92-C8D0-50C7-BCEB211DCA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900" y="1074791"/>
            <a:ext cx="8454714" cy="5108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53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Header">
  <a:themeElements>
    <a:clrScheme name="SkyKick">
      <a:dk1>
        <a:srgbClr val="000000"/>
      </a:dk1>
      <a:lt1>
        <a:srgbClr val="FFFFFF"/>
      </a:lt1>
      <a:dk2>
        <a:srgbClr val="2F384E"/>
      </a:dk2>
      <a:lt2>
        <a:srgbClr val="F5F7FC"/>
      </a:lt2>
      <a:accent1>
        <a:srgbClr val="00ADFF"/>
      </a:accent1>
      <a:accent2>
        <a:srgbClr val="1C8DE2"/>
      </a:accent2>
      <a:accent3>
        <a:srgbClr val="4E5768"/>
      </a:accent3>
      <a:accent4>
        <a:srgbClr val="DEE3EC"/>
      </a:accent4>
      <a:accent5>
        <a:srgbClr val="9AA2AE"/>
      </a:accent5>
      <a:accent6>
        <a:srgbClr val="49D0E1"/>
      </a:accent6>
      <a:hlink>
        <a:srgbClr val="1C8DE2"/>
      </a:hlink>
      <a:folHlink>
        <a:srgbClr val="1C8DE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.xml"/></Relationships>
</file>

<file path=customXml/_rels/item1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.xml"/></Relationships>
</file>

<file path=customXml/_rels/item1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.xml"/></Relationships>
</file>

<file path=customXml/_rels/item1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.xml"/></Relationships>
</file>

<file path=customXml/_rels/item1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.xml"/></Relationships>
</file>

<file path=customXml/_rels/item1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.xml"/></Relationships>
</file>

<file path=customXml/_rels/item1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.xml"/></Relationships>
</file>

<file path=customXml/_rels/item1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.xml"/></Relationships>
</file>

<file path=customXml/_rels/item1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.xml"/></Relationships>
</file>

<file path=customXml/_rels/item1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.xml"/></Relationships>
</file>

<file path=customXml/_rels/item1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0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F81B7A6B7A3543AFD4E9C82F4E362B" ma:contentTypeVersion="22" ma:contentTypeDescription="Create a new document." ma:contentTypeScope="" ma:versionID="bb723fd92ed15e5be7adaf53af7067ab">
  <xsd:schema xmlns:xsd="http://www.w3.org/2001/XMLSchema" xmlns:xs="http://www.w3.org/2001/XMLSchema" xmlns:p="http://schemas.microsoft.com/office/2006/metadata/properties" xmlns:ns2="4a3c9e92-6477-4477-a8d1-23d83882f602" xmlns:ns3="f34ad52d-b17e-4161-8ac8-e69670fefdcb" xmlns:ns4="http://schemas.microsoft.com/sharepoint/v4" targetNamespace="http://schemas.microsoft.com/office/2006/metadata/properties" ma:root="true" ma:fieldsID="f94b7ef92abf7259a99c33c35f870777" ns2:_="" ns3:_="" ns4:_="">
    <xsd:import namespace="4a3c9e92-6477-4477-a8d1-23d83882f602"/>
    <xsd:import namespace="f34ad52d-b17e-4161-8ac8-e69670fefdcb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2:_dlc_DocId" minOccurs="0"/>
                <xsd:element ref="ns2:_dlc_DocIdUrl" minOccurs="0"/>
                <xsd:element ref="ns2:_dlc_DocIdPersistId" minOccurs="0"/>
                <xsd:element ref="ns3:MediaServiceAutoKeyPoints" minOccurs="0"/>
                <xsd:element ref="ns3:MediaServiceKeyPoints" minOccurs="0"/>
                <xsd:element ref="ns4:IconOverlay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3c9e92-6477-4477-a8d1-23d83882f602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  <xsd:element name="_dlc_DocId" ma:index="17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8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29" nillable="true" ma:displayName="Taxonomy Catch All Column" ma:hidden="true" ma:list="{08a7d1ec-d387-43b4-89ea-a67d9533e278}" ma:internalName="TaxCatchAll" ma:showField="CatchAllData" ma:web="4a3c9e92-6477-4477-a8d1-23d83882f60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4ad52d-b17e-4161-8ac8-e69670fefd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5" nillable="true" ma:displayName="Length (seconds)" ma:internalName="MediaLengthInSeconds" ma:readOnly="true">
      <xsd:simpleType>
        <xsd:restriction base="dms:Unknown"/>
      </xsd:simpleType>
    </xsd:element>
    <xsd:element name="MediaServiceLocation" ma:index="26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8" nillable="true" ma:taxonomy="true" ma:internalName="lcf76f155ced4ddcb4097134ff3c332f" ma:taxonomyFieldName="MediaServiceImageTags" ma:displayName="Image Tags" ma:readOnly="false" ma:fieldId="{5cf76f15-5ced-4ddc-b409-7134ff3c332f}" ma:taxonomyMulti="true" ma:sspId="02fa039f-0dcc-4d66-9fd1-bf8531ac437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3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3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2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0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0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3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  <MediaLengthInSeconds xmlns="2695ec65-3b02-4b19-a0c2-a4ef187a9d71" xsi:nil="true"/>
    <SharedWithUsers xmlns="4167c2d8-7144-46b5-8c95-b4e4a6259743">
      <UserInfo>
        <DisplayName>Harpreet Duggal</DisplayName>
        <AccountId>12</AccountId>
        <AccountType/>
      </UserInfo>
      <UserInfo>
        <DisplayName>Jonny Bobgan</DisplayName>
        <AccountId>96</AccountId>
        <AccountType/>
      </UserInfo>
      <UserInfo>
        <DisplayName>Varshaa Pallaath</DisplayName>
        <AccountId>26</AccountId>
        <AccountType/>
      </UserInfo>
    </SharedWithUsers>
  </documentManagement>
</p:properties>
</file>

<file path=customXml/item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4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3794bea-d216-4761-b493-c2cfd7e49655">
      <Terms xmlns="http://schemas.microsoft.com/office/infopath/2007/PartnerControls"/>
    </lcf76f155ced4ddcb4097134ff3c332f>
    <TaxCatchAll xmlns="6703c25a-97c7-436c-a170-f15398e801be" xsi:nil="true"/>
  </documentManagement>
</p:properties>
</file>

<file path=customXml/item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34ad52d-b17e-4161-8ac8-e69670fefdcb">
      <Terms xmlns="http://schemas.microsoft.com/office/infopath/2007/PartnerControls"/>
    </lcf76f155ced4ddcb4097134ff3c332f>
    <TaxCatchAll xmlns="4a3c9e92-6477-4477-a8d1-23d83882f602" xsi:nil="true"/>
    <IconOverlay xmlns="http://schemas.microsoft.com/sharepoint/v4" xsi:nil="true"/>
  </documentManagement>
</p:properties>
</file>

<file path=customXml/item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6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7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7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7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8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9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695ec65-3b02-4b19-a0c2-a4ef187a9d71">
      <Terms xmlns="http://schemas.microsoft.com/office/infopath/2007/PartnerControls"/>
    </lcf76f155ced4ddcb4097134ff3c332f>
    <_Flow_SignoffStatus xmlns="2695ec65-3b02-4b19-a0c2-a4ef187a9d71" xsi:nil="true"/>
    <TaxCatchAll xmlns="4167c2d8-7144-46b5-8c95-b4e4a6259743" xsi:nil="true"/>
  </documentManagement>
</p:properties>
</file>

<file path=customXml/item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FEB8DF-5BD5-47A6-80B3-AD28CF74C2AB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.xml><?xml version="1.0" encoding="utf-8"?>
<ds:datastoreItem xmlns:ds="http://schemas.openxmlformats.org/officeDocument/2006/customXml" ds:itemID="{1EB64143-94F5-4A3A-A563-04652556E334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0.xml><?xml version="1.0" encoding="utf-8"?>
<ds:datastoreItem xmlns:ds="http://schemas.openxmlformats.org/officeDocument/2006/customXml" ds:itemID="{BEDA6DF1-DC2E-41A8-A9C1-2FC1548D46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a3c9e92-6477-4477-a8d1-23d83882f602"/>
    <ds:schemaRef ds:uri="f34ad52d-b17e-4161-8ac8-e69670fefdcb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01.xml><?xml version="1.0" encoding="utf-8"?>
<ds:datastoreItem xmlns:ds="http://schemas.openxmlformats.org/officeDocument/2006/customXml" ds:itemID="{C6C58C28-EA61-454C-9E28-667AD82A5E06}">
  <ds:schemaRefs>
    <ds:schemaRef ds:uri="http://schemas.microsoft.com/sharepoint/v3/contenttype/forms"/>
  </ds:schemaRefs>
</ds:datastoreItem>
</file>

<file path=customXml/itemProps102.xml><?xml version="1.0" encoding="utf-8"?>
<ds:datastoreItem xmlns:ds="http://schemas.openxmlformats.org/officeDocument/2006/customXml" ds:itemID="{9CC889EF-D5A3-4D9D-AEFF-9CB4B33D2D36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.xml><?xml version="1.0" encoding="utf-8"?>
<ds:datastoreItem xmlns:ds="http://schemas.openxmlformats.org/officeDocument/2006/customXml" ds:itemID="{AFB3E9EE-C3A9-49E0-B35B-1F57587E6C23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4.xml><?xml version="1.0" encoding="utf-8"?>
<ds:datastoreItem xmlns:ds="http://schemas.openxmlformats.org/officeDocument/2006/customXml" ds:itemID="{3ADF59BD-64FA-41AB-A0EB-1EE14F3989FB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5.xml><?xml version="1.0" encoding="utf-8"?>
<ds:datastoreItem xmlns:ds="http://schemas.openxmlformats.org/officeDocument/2006/customXml" ds:itemID="{54F1F329-B23C-354B-90B5-A1607A583EB2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6.xml><?xml version="1.0" encoding="utf-8"?>
<ds:datastoreItem xmlns:ds="http://schemas.openxmlformats.org/officeDocument/2006/customXml" ds:itemID="{400A0E19-C151-3E4A-83CB-15485CBDD00F}">
  <ds:schemaRefs>
    <ds:schemaRef ds:uri="http://schemas.microsoft.com/sharepoint/v3/contenttype/forms"/>
  </ds:schemaRefs>
</ds:datastoreItem>
</file>

<file path=customXml/itemProps107.xml><?xml version="1.0" encoding="utf-8"?>
<ds:datastoreItem xmlns:ds="http://schemas.openxmlformats.org/officeDocument/2006/customXml" ds:itemID="{36DF7476-2BC7-46BC-8652-2066C7B00A20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8.xml><?xml version="1.0" encoding="utf-8"?>
<ds:datastoreItem xmlns:ds="http://schemas.openxmlformats.org/officeDocument/2006/customXml" ds:itemID="{6509CC46-3E1E-4335-A7EB-3986F566730F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9.xml><?xml version="1.0" encoding="utf-8"?>
<ds:datastoreItem xmlns:ds="http://schemas.openxmlformats.org/officeDocument/2006/customXml" ds:itemID="{01BD13BA-8C3F-4536-A156-AD1F0DBBE4C4}">
  <ds:schemaRefs>
    <ds:schemaRef ds:uri="http://schemas.microsoft.com/sharepoint/v3/contenttype/forms"/>
  </ds:schemaRefs>
</ds:datastoreItem>
</file>

<file path=customXml/itemProps11.xml><?xml version="1.0" encoding="utf-8"?>
<ds:datastoreItem xmlns:ds="http://schemas.openxmlformats.org/officeDocument/2006/customXml" ds:itemID="{40DE6FC8-C659-4483-B505-3DF009DFCB17}">
  <ds:schemaRefs>
    <ds:schemaRef ds:uri="http://schemas.microsoft.com/sharepoint/v3/contenttype/forms"/>
  </ds:schemaRefs>
</ds:datastoreItem>
</file>

<file path=customXml/itemProps110.xml><?xml version="1.0" encoding="utf-8"?>
<ds:datastoreItem xmlns:ds="http://schemas.openxmlformats.org/officeDocument/2006/customXml" ds:itemID="{91ED6D80-E867-4BF0-9009-B74AA3D4633D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1.xml><?xml version="1.0" encoding="utf-8"?>
<ds:datastoreItem xmlns:ds="http://schemas.openxmlformats.org/officeDocument/2006/customXml" ds:itemID="{898D6C16-5C5A-4C54-A5EF-76E6C0BCEEDD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.xml><?xml version="1.0" encoding="utf-8"?>
<ds:datastoreItem xmlns:ds="http://schemas.openxmlformats.org/officeDocument/2006/customXml" ds:itemID="{762F2B23-D1A4-4B49-BC74-A46D4249994B}">
  <ds:schemaRefs>
    <ds:schemaRef ds:uri="http://schemas.microsoft.com/sharepoint/v3/contenttype/forms"/>
  </ds:schemaRefs>
</ds:datastoreItem>
</file>

<file path=customXml/itemProps13.xml><?xml version="1.0" encoding="utf-8"?>
<ds:datastoreItem xmlns:ds="http://schemas.openxmlformats.org/officeDocument/2006/customXml" ds:itemID="{DF0CB82F-CB86-414B-80ED-B444DD83F12C}">
  <ds:schemaRefs>
    <ds:schemaRef ds:uri="http://schemas.microsoft.com/sharepoint/v3/contenttype/forms"/>
  </ds:schemaRefs>
</ds:datastoreItem>
</file>

<file path=customXml/itemProps14.xml><?xml version="1.0" encoding="utf-8"?>
<ds:datastoreItem xmlns:ds="http://schemas.openxmlformats.org/officeDocument/2006/customXml" ds:itemID="{65DBAF24-A4BC-4385-A043-064EC010BDF6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.xml><?xml version="1.0" encoding="utf-8"?>
<ds:datastoreItem xmlns:ds="http://schemas.openxmlformats.org/officeDocument/2006/customXml" ds:itemID="{EBA202C5-052C-4838-B114-BB6ADE9FF603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.xml><?xml version="1.0" encoding="utf-8"?>
<ds:datastoreItem xmlns:ds="http://schemas.openxmlformats.org/officeDocument/2006/customXml" ds:itemID="{69ABE971-45BC-4EA2-8D3C-38B0ECD0A311}">
  <ds:schemaRefs>
    <ds:schemaRef ds:uri="http://schemas.microsoft.com/sharepoint/v3/contenttype/forms"/>
  </ds:schemaRefs>
</ds:datastoreItem>
</file>

<file path=customXml/itemProps17.xml><?xml version="1.0" encoding="utf-8"?>
<ds:datastoreItem xmlns:ds="http://schemas.openxmlformats.org/officeDocument/2006/customXml" ds:itemID="{4543DD31-2734-4AC4-B3B3-8B6137E659A4}">
  <ds:schemaRefs>
    <ds:schemaRef ds:uri="http://schemas.microsoft.com/sharepoint/v3/contenttype/forms"/>
  </ds:schemaRefs>
</ds:datastoreItem>
</file>

<file path=customXml/itemProps18.xml><?xml version="1.0" encoding="utf-8"?>
<ds:datastoreItem xmlns:ds="http://schemas.openxmlformats.org/officeDocument/2006/customXml" ds:itemID="{C3C15D3E-461B-4AB1-B7AB-A620487026F5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.xml><?xml version="1.0" encoding="utf-8"?>
<ds:datastoreItem xmlns:ds="http://schemas.openxmlformats.org/officeDocument/2006/customXml" ds:itemID="{418D936E-738E-4673-8745-B087D4B6399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687C3BB-D6DE-4D73-98A1-E46B71300811}">
  <ds:schemaRefs>
    <ds:schemaRef ds:uri="http://schemas.microsoft.com/sharepoint/v3/contenttype/forms"/>
  </ds:schemaRefs>
</ds:datastoreItem>
</file>

<file path=customXml/itemProps20.xml><?xml version="1.0" encoding="utf-8"?>
<ds:datastoreItem xmlns:ds="http://schemas.openxmlformats.org/officeDocument/2006/customXml" ds:itemID="{6866C07F-54DD-4F1E-9290-1B7A4C7DBFAE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.xml><?xml version="1.0" encoding="utf-8"?>
<ds:datastoreItem xmlns:ds="http://schemas.openxmlformats.org/officeDocument/2006/customXml" ds:itemID="{720C0EC6-88D1-41FB-A075-95E9CAA7B7DD}">
  <ds:schemaRefs>
    <ds:schemaRef ds:uri="http://schemas.microsoft.com/sharepoint/v3/contenttype/forms"/>
  </ds:schemaRefs>
</ds:datastoreItem>
</file>

<file path=customXml/itemProps22.xml><?xml version="1.0" encoding="utf-8"?>
<ds:datastoreItem xmlns:ds="http://schemas.openxmlformats.org/officeDocument/2006/customXml" ds:itemID="{D4943EDC-F9AB-41E8-946A-597B97D34746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3.xml><?xml version="1.0" encoding="utf-8"?>
<ds:datastoreItem xmlns:ds="http://schemas.openxmlformats.org/officeDocument/2006/customXml" ds:itemID="{5F5BA2ED-E324-4A2D-9D04-7A1E98D08BBD}">
  <ds:schemaRefs>
    <ds:schemaRef ds:uri="http://schemas.microsoft.com/sharepoint/v3/contenttype/forms"/>
  </ds:schemaRefs>
</ds:datastoreItem>
</file>

<file path=customXml/itemProps24.xml><?xml version="1.0" encoding="utf-8"?>
<ds:datastoreItem xmlns:ds="http://schemas.openxmlformats.org/officeDocument/2006/customXml" ds:itemID="{C6398438-8A7F-4829-9F5B-70984BF62E1F}">
  <ds:schemaRefs>
    <ds:schemaRef ds:uri="http://schemas.microsoft.com/sharepoint/v3/contenttype/forms"/>
  </ds:schemaRefs>
</ds:datastoreItem>
</file>

<file path=customXml/itemProps25.xml><?xml version="1.0" encoding="utf-8"?>
<ds:datastoreItem xmlns:ds="http://schemas.openxmlformats.org/officeDocument/2006/customXml" ds:itemID="{9F47915A-F65E-4BBC-9FCB-8812B2A17350}">
  <ds:schemaRefs>
    <ds:schemaRef ds:uri="http://schemas.microsoft.com/sharepoint/v3/contenttype/forms"/>
  </ds:schemaRefs>
</ds:datastoreItem>
</file>

<file path=customXml/itemProps26.xml><?xml version="1.0" encoding="utf-8"?>
<ds:datastoreItem xmlns:ds="http://schemas.openxmlformats.org/officeDocument/2006/customXml" ds:itemID="{8A9B631D-04A9-4197-981F-AEB7DEDA1649}">
  <ds:schemaRefs>
    <ds:schemaRef ds:uri="http://schemas.microsoft.com/sharepoint/v3/contenttype/forms"/>
  </ds:schemaRefs>
</ds:datastoreItem>
</file>

<file path=customXml/itemProps27.xml><?xml version="1.0" encoding="utf-8"?>
<ds:datastoreItem xmlns:ds="http://schemas.openxmlformats.org/officeDocument/2006/customXml" ds:itemID="{DF4C1A22-DA2F-4BC6-8112-74FB01FA5AFA}">
  <ds:schemaRefs>
    <ds:schemaRef ds:uri="http://schemas.microsoft.com/sharepoint/v3/contenttype/forms"/>
  </ds:schemaRefs>
</ds:datastoreItem>
</file>

<file path=customXml/itemProps28.xml><?xml version="1.0" encoding="utf-8"?>
<ds:datastoreItem xmlns:ds="http://schemas.openxmlformats.org/officeDocument/2006/customXml" ds:itemID="{996BFCCC-CA3A-4E63-BB41-A80147005246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9.xml><?xml version="1.0" encoding="utf-8"?>
<ds:datastoreItem xmlns:ds="http://schemas.openxmlformats.org/officeDocument/2006/customXml" ds:itemID="{5D94FF5B-0B00-46D8-8CB3-086B6B23B990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49557ED4-2674-46BE-A926-314D3227187A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0.xml><?xml version="1.0" encoding="utf-8"?>
<ds:datastoreItem xmlns:ds="http://schemas.openxmlformats.org/officeDocument/2006/customXml" ds:itemID="{3194BB3C-6D85-45D3-85E5-57493600E5AD}">
  <ds:schemaRefs>
    <ds:schemaRef ds:uri="http://schemas.microsoft.com/sharepoint/v3/contenttype/forms"/>
  </ds:schemaRefs>
</ds:datastoreItem>
</file>

<file path=customXml/itemProps31.xml><?xml version="1.0" encoding="utf-8"?>
<ds:datastoreItem xmlns:ds="http://schemas.openxmlformats.org/officeDocument/2006/customXml" ds:itemID="{3135AB4F-6A27-4EE1-910A-F47E002EA97C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2.xml><?xml version="1.0" encoding="utf-8"?>
<ds:datastoreItem xmlns:ds="http://schemas.openxmlformats.org/officeDocument/2006/customXml" ds:itemID="{12096493-CB1E-46EE-8412-5B4C544E2AFB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3.xml><?xml version="1.0" encoding="utf-8"?>
<ds:datastoreItem xmlns:ds="http://schemas.openxmlformats.org/officeDocument/2006/customXml" ds:itemID="{3087DF26-0A58-4B7C-B889-AFB190843A6D}">
  <ds:schemaRefs>
    <ds:schemaRef ds:uri="http://schemas.microsoft.com/sharepoint/v3/contenttype/forms"/>
  </ds:schemaRefs>
</ds:datastoreItem>
</file>

<file path=customXml/itemProps34.xml><?xml version="1.0" encoding="utf-8"?>
<ds:datastoreItem xmlns:ds="http://schemas.openxmlformats.org/officeDocument/2006/customXml" ds:itemID="{9386D8BA-6134-4029-BADC-AF0E8231FACE}">
  <ds:schemaRefs>
    <ds:schemaRef ds:uri="http://schemas.microsoft.com/sharepoint/v3/contenttype/forms"/>
  </ds:schemaRefs>
</ds:datastoreItem>
</file>

<file path=customXml/itemProps35.xml><?xml version="1.0" encoding="utf-8"?>
<ds:datastoreItem xmlns:ds="http://schemas.openxmlformats.org/officeDocument/2006/customXml" ds:itemID="{C24B705F-A14F-4539-9363-1EB2EBF502F9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.xml><?xml version="1.0" encoding="utf-8"?>
<ds:datastoreItem xmlns:ds="http://schemas.openxmlformats.org/officeDocument/2006/customXml" ds:itemID="{BAF6F8F0-72FF-4791-AAA9-6D8720387705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7.xml><?xml version="1.0" encoding="utf-8"?>
<ds:datastoreItem xmlns:ds="http://schemas.openxmlformats.org/officeDocument/2006/customXml" ds:itemID="{95F13BAE-E136-4FBE-B0D0-4092FB37E1CB}">
  <ds:schemaRefs>
    <ds:schemaRef ds:uri="http://schemas.microsoft.com/sharepoint/v3/contenttype/forms"/>
  </ds:schemaRefs>
</ds:datastoreItem>
</file>

<file path=customXml/itemProps38.xml><?xml version="1.0" encoding="utf-8"?>
<ds:datastoreItem xmlns:ds="http://schemas.openxmlformats.org/officeDocument/2006/customXml" ds:itemID="{BA506C14-BC6E-1C4F-980D-EE0F61F19C74}">
  <ds:schemaRefs>
    <ds:schemaRef ds:uri="http://schemas.microsoft.com/sharepoint/v3/contenttype/forms"/>
  </ds:schemaRefs>
</ds:datastoreItem>
</file>

<file path=customXml/itemProps39.xml><?xml version="1.0" encoding="utf-8"?>
<ds:datastoreItem xmlns:ds="http://schemas.openxmlformats.org/officeDocument/2006/customXml" ds:itemID="{6DD50E20-4907-4635-8E1C-6CF83622AB5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6E6A17DD-C97E-4540-A106-79B8B376B03E}">
  <ds:schemaRefs>
    <ds:schemaRef ds:uri="http://schemas.microsoft.com/sharepoint/v3/contenttype/forms"/>
  </ds:schemaRefs>
</ds:datastoreItem>
</file>

<file path=customXml/itemProps40.xml><?xml version="1.0" encoding="utf-8"?>
<ds:datastoreItem xmlns:ds="http://schemas.openxmlformats.org/officeDocument/2006/customXml" ds:itemID="{256CA013-2B67-4F53-BB44-37C1897AC9E2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1.xml><?xml version="1.0" encoding="utf-8"?>
<ds:datastoreItem xmlns:ds="http://schemas.openxmlformats.org/officeDocument/2006/customXml" ds:itemID="{585713DC-FA35-416C-9370-7B22CC11A293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2.xml><?xml version="1.0" encoding="utf-8"?>
<ds:datastoreItem xmlns:ds="http://schemas.openxmlformats.org/officeDocument/2006/customXml" ds:itemID="{DC143D02-197D-4E7C-A757-BB060D8BBC60}">
  <ds:schemaRefs>
    <ds:schemaRef ds:uri="http://schemas.microsoft.com/sharepoint/v3/contenttype/forms"/>
  </ds:schemaRefs>
</ds:datastoreItem>
</file>

<file path=customXml/itemProps43.xml><?xml version="1.0" encoding="utf-8"?>
<ds:datastoreItem xmlns:ds="http://schemas.openxmlformats.org/officeDocument/2006/customXml" ds:itemID="{C426D637-BA66-4568-8BC1-8F40DB883F98}">
  <ds:schemaRefs>
    <ds:schemaRef ds:uri="http://schemas.microsoft.com/sharepoint/v3/contenttype/forms"/>
  </ds:schemaRefs>
</ds:datastoreItem>
</file>

<file path=customXml/itemProps44.xml><?xml version="1.0" encoding="utf-8"?>
<ds:datastoreItem xmlns:ds="http://schemas.openxmlformats.org/officeDocument/2006/customXml" ds:itemID="{2BEE26A5-9597-4924-BAC3-FC1A21315600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5.xml><?xml version="1.0" encoding="utf-8"?>
<ds:datastoreItem xmlns:ds="http://schemas.openxmlformats.org/officeDocument/2006/customXml" ds:itemID="{D32912A5-7898-44FB-A35A-FDE9AFF4B01D}">
  <ds:schemaRefs>
    <ds:schemaRef ds:uri="http://schemas.microsoft.com/sharepoint/v3/contenttype/forms"/>
  </ds:schemaRefs>
</ds:datastoreItem>
</file>

<file path=customXml/itemProps46.xml><?xml version="1.0" encoding="utf-8"?>
<ds:datastoreItem xmlns:ds="http://schemas.openxmlformats.org/officeDocument/2006/customXml" ds:itemID="{9D0A0E54-1431-425A-A8C0-D39ACC121104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7.xml><?xml version="1.0" encoding="utf-8"?>
<ds:datastoreItem xmlns:ds="http://schemas.openxmlformats.org/officeDocument/2006/customXml" ds:itemID="{D6E69484-B8B5-4051-A88F-2A4B6A49A9D9}">
  <ds:schemaRefs>
    <ds:schemaRef ds:uri="http://schemas.microsoft.com/sharepoint/v3/contenttype/forms"/>
  </ds:schemaRefs>
</ds:datastoreItem>
</file>

<file path=customXml/itemProps48.xml><?xml version="1.0" encoding="utf-8"?>
<ds:datastoreItem xmlns:ds="http://schemas.openxmlformats.org/officeDocument/2006/customXml" ds:itemID="{58AA9E8D-E163-4562-8A17-64BF3BFD37D6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9.xml><?xml version="1.0" encoding="utf-8"?>
<ds:datastoreItem xmlns:ds="http://schemas.openxmlformats.org/officeDocument/2006/customXml" ds:itemID="{AEE1D4C1-915F-4BEC-AFFE-6328C26553D6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70C02F88-7B68-4942-BF67-92DA5DC5B9EB}">
  <ds:schemaRefs>
    <ds:schemaRef ds:uri="http://schemas.microsoft.com/sharepoint/v3/contenttype/forms"/>
  </ds:schemaRefs>
</ds:datastoreItem>
</file>

<file path=customXml/itemProps50.xml><?xml version="1.0" encoding="utf-8"?>
<ds:datastoreItem xmlns:ds="http://schemas.openxmlformats.org/officeDocument/2006/customXml" ds:itemID="{BD7C7EAC-A32D-45E9-AD96-0304ABF34F28}">
  <ds:schemaRefs>
    <ds:schemaRef ds:uri="http://schemas.microsoft.com/sharepoint/v3/contenttype/forms"/>
  </ds:schemaRefs>
</ds:datastoreItem>
</file>

<file path=customXml/itemProps51.xml><?xml version="1.0" encoding="utf-8"?>
<ds:datastoreItem xmlns:ds="http://schemas.openxmlformats.org/officeDocument/2006/customXml" ds:itemID="{B044534F-3F06-46F8-B81D-78FABE7204A1}">
  <ds:schemaRefs>
    <ds:schemaRef ds:uri="http://schemas.microsoft.com/sharepoint/v3/contenttype/forms"/>
  </ds:schemaRefs>
</ds:datastoreItem>
</file>

<file path=customXml/itemProps52.xml><?xml version="1.0" encoding="utf-8"?>
<ds:datastoreItem xmlns:ds="http://schemas.openxmlformats.org/officeDocument/2006/customXml" ds:itemID="{00656088-9734-5844-9C60-4D21939E2987}">
  <ds:schemaRefs>
    <ds:schemaRef ds:uri="2695ec65-3b02-4b19-a0c2-a4ef187a9d71"/>
    <ds:schemaRef ds:uri="4167c2d8-7144-46b5-8c95-b4e4a6259743"/>
    <ds:schemaRef ds:uri="6703c25a-97c7-436c-a170-f15398e801be"/>
    <ds:schemaRef ds:uri="93794bea-d216-4761-b493-c2cfd7e4965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.xml><?xml version="1.0" encoding="utf-8"?>
<ds:datastoreItem xmlns:ds="http://schemas.openxmlformats.org/officeDocument/2006/customXml" ds:itemID="{4BFEE9BE-AA56-40CE-AFEE-034170CD49BF}">
  <ds:schemaRefs>
    <ds:schemaRef ds:uri="http://schemas.microsoft.com/sharepoint/v3/contenttype/forms"/>
  </ds:schemaRefs>
</ds:datastoreItem>
</file>

<file path=customXml/itemProps54.xml><?xml version="1.0" encoding="utf-8"?>
<ds:datastoreItem xmlns:ds="http://schemas.openxmlformats.org/officeDocument/2006/customXml" ds:itemID="{ED94EAFC-49D1-4253-A9E5-A8DD2DE0C076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.xml><?xml version="1.0" encoding="utf-8"?>
<ds:datastoreItem xmlns:ds="http://schemas.openxmlformats.org/officeDocument/2006/customXml" ds:itemID="{B6AF1856-2B87-4E52-B5CC-616D55D4A4D9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6.xml><?xml version="1.0" encoding="utf-8"?>
<ds:datastoreItem xmlns:ds="http://schemas.openxmlformats.org/officeDocument/2006/customXml" ds:itemID="{003CC0CF-D126-411E-8C71-002AE1BEE83C}">
  <ds:schemaRefs>
    <ds:schemaRef ds:uri="http://schemas.microsoft.com/sharepoint/v3/contenttype/forms"/>
  </ds:schemaRefs>
</ds:datastoreItem>
</file>

<file path=customXml/itemProps57.xml><?xml version="1.0" encoding="utf-8"?>
<ds:datastoreItem xmlns:ds="http://schemas.openxmlformats.org/officeDocument/2006/customXml" ds:itemID="{F51DBDB3-07FC-6C40-A3B1-C061F1F6B220}">
  <ds:schemaRefs>
    <ds:schemaRef ds:uri="http://schemas.microsoft.com/sharepoint/v3/contenttype/forms"/>
  </ds:schemaRefs>
</ds:datastoreItem>
</file>

<file path=customXml/itemProps58.xml><?xml version="1.0" encoding="utf-8"?>
<ds:datastoreItem xmlns:ds="http://schemas.openxmlformats.org/officeDocument/2006/customXml" ds:itemID="{8D394CAE-D79D-4D3D-8176-A19D946A14D2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.xml><?xml version="1.0" encoding="utf-8"?>
<ds:datastoreItem xmlns:ds="http://schemas.openxmlformats.org/officeDocument/2006/customXml" ds:itemID="{E43F9E08-60BE-4A4B-B168-4A7CFA5DE718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.xml><?xml version="1.0" encoding="utf-8"?>
<ds:datastoreItem xmlns:ds="http://schemas.openxmlformats.org/officeDocument/2006/customXml" ds:itemID="{8F90172D-2D00-4334-BD12-46ACA217F609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f34ad52d-b17e-4161-8ac8-e69670fefdcb"/>
    <ds:schemaRef ds:uri="4a3c9e92-6477-4477-a8d1-23d83882f602"/>
    <ds:schemaRef ds:uri="http://schemas.microsoft.com/sharepoint/v4"/>
  </ds:schemaRefs>
</ds:datastoreItem>
</file>

<file path=customXml/itemProps60.xml><?xml version="1.0" encoding="utf-8"?>
<ds:datastoreItem xmlns:ds="http://schemas.openxmlformats.org/officeDocument/2006/customXml" ds:itemID="{9A1E9282-BB40-4002-8681-BF0FF6A2C2DA}">
  <ds:schemaRefs>
    <ds:schemaRef ds:uri="http://schemas.microsoft.com/sharepoint/v3/contenttype/forms"/>
  </ds:schemaRefs>
</ds:datastoreItem>
</file>

<file path=customXml/itemProps61.xml><?xml version="1.0" encoding="utf-8"?>
<ds:datastoreItem xmlns:ds="http://schemas.openxmlformats.org/officeDocument/2006/customXml" ds:itemID="{9B625076-B538-4E29-A117-C5C78638CA6B}">
  <ds:schemaRefs>
    <ds:schemaRef ds:uri="http://schemas.microsoft.com/sharepoint/v3/contenttype/forms"/>
  </ds:schemaRefs>
</ds:datastoreItem>
</file>

<file path=customXml/itemProps62.xml><?xml version="1.0" encoding="utf-8"?>
<ds:datastoreItem xmlns:ds="http://schemas.openxmlformats.org/officeDocument/2006/customXml" ds:itemID="{8D9B253E-15D5-448B-90AC-60C141E24E38}">
  <ds:schemaRefs>
    <ds:schemaRef ds:uri="http://schemas.microsoft.com/sharepoint/v3/contenttype/forms"/>
  </ds:schemaRefs>
</ds:datastoreItem>
</file>

<file path=customXml/itemProps63.xml><?xml version="1.0" encoding="utf-8"?>
<ds:datastoreItem xmlns:ds="http://schemas.openxmlformats.org/officeDocument/2006/customXml" ds:itemID="{446236CA-A5C1-43EA-9BAE-D5C0FCF1B2BB}">
  <ds:schemaRefs>
    <ds:schemaRef ds:uri="http://schemas.microsoft.com/sharepoint/v3/contenttype/forms"/>
  </ds:schemaRefs>
</ds:datastoreItem>
</file>

<file path=customXml/itemProps64.xml><?xml version="1.0" encoding="utf-8"?>
<ds:datastoreItem xmlns:ds="http://schemas.openxmlformats.org/officeDocument/2006/customXml" ds:itemID="{654B99B0-A80A-4ACC-88A8-EF0BD09F91F6}">
  <ds:schemaRefs>
    <ds:schemaRef ds:uri="http://schemas.microsoft.com/sharepoint/v3/contenttype/forms"/>
  </ds:schemaRefs>
</ds:datastoreItem>
</file>

<file path=customXml/itemProps65.xml><?xml version="1.0" encoding="utf-8"?>
<ds:datastoreItem xmlns:ds="http://schemas.openxmlformats.org/officeDocument/2006/customXml" ds:itemID="{C31D1396-2F77-45AD-902A-DB430A0508F5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6.xml><?xml version="1.0" encoding="utf-8"?>
<ds:datastoreItem xmlns:ds="http://schemas.openxmlformats.org/officeDocument/2006/customXml" ds:itemID="{1DB6963D-B843-4586-ADC8-0CF570C4ED49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.xml><?xml version="1.0" encoding="utf-8"?>
<ds:datastoreItem xmlns:ds="http://schemas.openxmlformats.org/officeDocument/2006/customXml" ds:itemID="{F1F517AB-FBF9-4F99-8A67-1D359CBE25B1}">
  <ds:schemaRefs>
    <ds:schemaRef ds:uri="http://schemas.microsoft.com/sharepoint/v3/contenttype/forms"/>
  </ds:schemaRefs>
</ds:datastoreItem>
</file>

<file path=customXml/itemProps68.xml><?xml version="1.0" encoding="utf-8"?>
<ds:datastoreItem xmlns:ds="http://schemas.openxmlformats.org/officeDocument/2006/customXml" ds:itemID="{7F9506D5-C7B3-4B0B-8FE0-E3D9E3070459}">
  <ds:schemaRefs>
    <ds:schemaRef ds:uri="http://schemas.microsoft.com/sharepoint/v3/contenttype/forms"/>
  </ds:schemaRefs>
</ds:datastoreItem>
</file>

<file path=customXml/itemProps69.xml><?xml version="1.0" encoding="utf-8"?>
<ds:datastoreItem xmlns:ds="http://schemas.openxmlformats.org/officeDocument/2006/customXml" ds:itemID="{7CCA6CA7-C2BE-4BF3-96EB-1177AD1629B0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.xml><?xml version="1.0" encoding="utf-8"?>
<ds:datastoreItem xmlns:ds="http://schemas.openxmlformats.org/officeDocument/2006/customXml" ds:itemID="{FBCA18EB-C7F3-4E56-A29D-6EDB361135EA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0.xml><?xml version="1.0" encoding="utf-8"?>
<ds:datastoreItem xmlns:ds="http://schemas.openxmlformats.org/officeDocument/2006/customXml" ds:itemID="{C7D68896-FCC8-419D-8146-2E405E7A1F14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1.xml><?xml version="1.0" encoding="utf-8"?>
<ds:datastoreItem xmlns:ds="http://schemas.openxmlformats.org/officeDocument/2006/customXml" ds:itemID="{11C04B01-A4E3-4936-B9CB-4E7B1FB878C4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2.xml><?xml version="1.0" encoding="utf-8"?>
<ds:datastoreItem xmlns:ds="http://schemas.openxmlformats.org/officeDocument/2006/customXml" ds:itemID="{A95317BA-E5C9-4362-978C-5A31B44EA0BC}">
  <ds:schemaRefs>
    <ds:schemaRef ds:uri="http://schemas.microsoft.com/sharepoint/v3/contenttype/forms"/>
  </ds:schemaRefs>
</ds:datastoreItem>
</file>

<file path=customXml/itemProps73.xml><?xml version="1.0" encoding="utf-8"?>
<ds:datastoreItem xmlns:ds="http://schemas.openxmlformats.org/officeDocument/2006/customXml" ds:itemID="{58626F14-FA14-482F-AA22-51B48BD26CD2}">
  <ds:schemaRefs>
    <ds:schemaRef ds:uri="http://schemas.microsoft.com/sharepoint/v3/contenttype/forms"/>
  </ds:schemaRefs>
</ds:datastoreItem>
</file>

<file path=customXml/itemProps74.xml><?xml version="1.0" encoding="utf-8"?>
<ds:datastoreItem xmlns:ds="http://schemas.openxmlformats.org/officeDocument/2006/customXml" ds:itemID="{4F80F3CC-9DB9-4B35-810F-A940F416030D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5.xml><?xml version="1.0" encoding="utf-8"?>
<ds:datastoreItem xmlns:ds="http://schemas.openxmlformats.org/officeDocument/2006/customXml" ds:itemID="{327803C6-B400-463C-B99F-4EAD247324FD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6.xml><?xml version="1.0" encoding="utf-8"?>
<ds:datastoreItem xmlns:ds="http://schemas.openxmlformats.org/officeDocument/2006/customXml" ds:itemID="{34F33CE5-ED51-4CDF-B644-5C66943D9766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7.xml><?xml version="1.0" encoding="utf-8"?>
<ds:datastoreItem xmlns:ds="http://schemas.openxmlformats.org/officeDocument/2006/customXml" ds:itemID="{17B2FC7B-2AEF-4674-B253-0BC49D0FC02F}">
  <ds:schemaRefs>
    <ds:schemaRef ds:uri="http://schemas.microsoft.com/sharepoint/v3/contenttype/forms"/>
  </ds:schemaRefs>
</ds:datastoreItem>
</file>

<file path=customXml/itemProps78.xml><?xml version="1.0" encoding="utf-8"?>
<ds:datastoreItem xmlns:ds="http://schemas.openxmlformats.org/officeDocument/2006/customXml" ds:itemID="{3E07D013-64AC-4D24-B3CB-F5126D2427BC}">
  <ds:schemaRefs>
    <ds:schemaRef ds:uri="http://schemas.microsoft.com/sharepoint/v3/contenttype/forms"/>
  </ds:schemaRefs>
</ds:datastoreItem>
</file>

<file path=customXml/itemProps79.xml><?xml version="1.0" encoding="utf-8"?>
<ds:datastoreItem xmlns:ds="http://schemas.openxmlformats.org/officeDocument/2006/customXml" ds:itemID="{750C90F8-2080-4AC5-80DB-186325939DC9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.xml><?xml version="1.0" encoding="utf-8"?>
<ds:datastoreItem xmlns:ds="http://schemas.openxmlformats.org/officeDocument/2006/customXml" ds:itemID="{09F1D248-5172-403D-90AF-870007628249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0.xml><?xml version="1.0" encoding="utf-8"?>
<ds:datastoreItem xmlns:ds="http://schemas.openxmlformats.org/officeDocument/2006/customXml" ds:itemID="{075ED5EA-1F26-4660-BFBB-10F6BC2A9BA2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1.xml><?xml version="1.0" encoding="utf-8"?>
<ds:datastoreItem xmlns:ds="http://schemas.openxmlformats.org/officeDocument/2006/customXml" ds:itemID="{5B0D1250-660E-4CB1-92D2-C01D8869CA0C}">
  <ds:schemaRefs>
    <ds:schemaRef ds:uri="http://schemas.microsoft.com/sharepoint/v3/contenttype/forms"/>
  </ds:schemaRefs>
</ds:datastoreItem>
</file>

<file path=customXml/itemProps82.xml><?xml version="1.0" encoding="utf-8"?>
<ds:datastoreItem xmlns:ds="http://schemas.openxmlformats.org/officeDocument/2006/customXml" ds:itemID="{8FFBC977-1F8A-412D-8479-A7F4BE7C2CE1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3.xml><?xml version="1.0" encoding="utf-8"?>
<ds:datastoreItem xmlns:ds="http://schemas.openxmlformats.org/officeDocument/2006/customXml" ds:itemID="{65DB51FE-714D-422F-BDA3-4A4D6AE6D58E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4.xml><?xml version="1.0" encoding="utf-8"?>
<ds:datastoreItem xmlns:ds="http://schemas.openxmlformats.org/officeDocument/2006/customXml" ds:itemID="{628E927A-C580-4B6F-836B-43CD97DF69C8}">
  <ds:schemaRefs>
    <ds:schemaRef ds:uri="http://schemas.microsoft.com/sharepoint/v3/contenttype/forms"/>
  </ds:schemaRefs>
</ds:datastoreItem>
</file>

<file path=customXml/itemProps85.xml><?xml version="1.0" encoding="utf-8"?>
<ds:datastoreItem xmlns:ds="http://schemas.openxmlformats.org/officeDocument/2006/customXml" ds:itemID="{127FC208-F5F4-461D-A410-4633C176D5A1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6.xml><?xml version="1.0" encoding="utf-8"?>
<ds:datastoreItem xmlns:ds="http://schemas.openxmlformats.org/officeDocument/2006/customXml" ds:itemID="{2F4A8A1E-D66C-4982-ADE5-46DBF874A8DA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7.xml><?xml version="1.0" encoding="utf-8"?>
<ds:datastoreItem xmlns:ds="http://schemas.openxmlformats.org/officeDocument/2006/customXml" ds:itemID="{755CDBB3-00C2-EE4B-8028-BA142368FB28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8.xml><?xml version="1.0" encoding="utf-8"?>
<ds:datastoreItem xmlns:ds="http://schemas.openxmlformats.org/officeDocument/2006/customXml" ds:itemID="{010ABFC8-3657-487F-A384-F5B0FFC4E7EF}">
  <ds:schemaRefs>
    <ds:schemaRef ds:uri="http://schemas.microsoft.com/sharepoint/v3/contenttype/forms"/>
  </ds:schemaRefs>
</ds:datastoreItem>
</file>

<file path=customXml/itemProps89.xml><?xml version="1.0" encoding="utf-8"?>
<ds:datastoreItem xmlns:ds="http://schemas.openxmlformats.org/officeDocument/2006/customXml" ds:itemID="{9E6202AE-7738-504C-A47B-A4BF04D5F1CE}">
  <ds:schemaRefs>
    <ds:schemaRef ds:uri="http://schemas.microsoft.com/sharepoint/v3/contenttype/forms"/>
  </ds:schemaRefs>
</ds:datastoreItem>
</file>

<file path=customXml/itemProps9.xml><?xml version="1.0" encoding="utf-8"?>
<ds:datastoreItem xmlns:ds="http://schemas.openxmlformats.org/officeDocument/2006/customXml" ds:itemID="{68F21EA8-2A93-934C-AE71-69B9A52B26D0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0.xml><?xml version="1.0" encoding="utf-8"?>
<ds:datastoreItem xmlns:ds="http://schemas.openxmlformats.org/officeDocument/2006/customXml" ds:itemID="{4C5D7D7A-D52F-431E-B26B-6D85E3CB4EED}">
  <ds:schemaRefs>
    <ds:schemaRef ds:uri="http://schemas.microsoft.com/sharepoint/v3/contenttype/forms"/>
  </ds:schemaRefs>
</ds:datastoreItem>
</file>

<file path=customXml/itemProps91.xml><?xml version="1.0" encoding="utf-8"?>
<ds:datastoreItem xmlns:ds="http://schemas.openxmlformats.org/officeDocument/2006/customXml" ds:itemID="{F1A8A19E-9816-4E7E-B18B-68644539940A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2.xml><?xml version="1.0" encoding="utf-8"?>
<ds:datastoreItem xmlns:ds="http://schemas.openxmlformats.org/officeDocument/2006/customXml" ds:itemID="{9DC26DEC-1C80-44F1-B8CF-40B8ED40653A}">
  <ds:schemaRefs>
    <ds:schemaRef ds:uri="http://schemas.microsoft.com/sharepoint/events"/>
  </ds:schemaRefs>
</ds:datastoreItem>
</file>

<file path=customXml/itemProps93.xml><?xml version="1.0" encoding="utf-8"?>
<ds:datastoreItem xmlns:ds="http://schemas.openxmlformats.org/officeDocument/2006/customXml" ds:itemID="{5740A2F7-A1F8-4AE5-9155-9B0AA679C465}">
  <ds:schemaRefs>
    <ds:schemaRef ds:uri="http://schemas.microsoft.com/sharepoint/v3/contenttype/forms"/>
  </ds:schemaRefs>
</ds:datastoreItem>
</file>

<file path=customXml/itemProps94.xml><?xml version="1.0" encoding="utf-8"?>
<ds:datastoreItem xmlns:ds="http://schemas.openxmlformats.org/officeDocument/2006/customXml" ds:itemID="{91B3C9CE-AEFE-4296-93AE-57C54006B1DE}">
  <ds:schemaRefs>
    <ds:schemaRef ds:uri="http://schemas.microsoft.com/sharepoint/v3/contenttype/forms"/>
  </ds:schemaRefs>
</ds:datastoreItem>
</file>

<file path=customXml/itemProps95.xml><?xml version="1.0" encoding="utf-8"?>
<ds:datastoreItem xmlns:ds="http://schemas.openxmlformats.org/officeDocument/2006/customXml" ds:itemID="{2B727DAD-2B98-4D73-A3D8-B6F3BB716FE3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6.xml><?xml version="1.0" encoding="utf-8"?>
<ds:datastoreItem xmlns:ds="http://schemas.openxmlformats.org/officeDocument/2006/customXml" ds:itemID="{DC68EBCD-0BA3-4A81-A4D0-3D528E1905E2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7.xml><?xml version="1.0" encoding="utf-8"?>
<ds:datastoreItem xmlns:ds="http://schemas.openxmlformats.org/officeDocument/2006/customXml" ds:itemID="{E8EA33E0-0D18-49D2-BE19-2BB623BA7FA8}">
  <ds:schemaRefs>
    <ds:schemaRef ds:uri="2695ec65-3b02-4b19-a0c2-a4ef187a9d71"/>
    <ds:schemaRef ds:uri="4167c2d8-7144-46b5-8c95-b4e4a625974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8.xml><?xml version="1.0" encoding="utf-8"?>
<ds:datastoreItem xmlns:ds="http://schemas.openxmlformats.org/officeDocument/2006/customXml" ds:itemID="{8D19DB02-633F-479F-99E9-28247CB971DD}">
  <ds:schemaRefs>
    <ds:schemaRef ds:uri="http://schemas.microsoft.com/sharepoint/v3/contenttype/forms"/>
  </ds:schemaRefs>
</ds:datastoreItem>
</file>

<file path=customXml/itemProps99.xml><?xml version="1.0" encoding="utf-8"?>
<ds:datastoreItem xmlns:ds="http://schemas.openxmlformats.org/officeDocument/2006/customXml" ds:itemID="{F9ED2D2F-B876-4584-856F-E6BE450CA5F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f9cd7a0-127a-4ed4-bf06-2f830d5616b7}" enabled="0" method="" siteId="{3f9cd7a0-127a-4ed4-bf06-2f830d5616b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46</Words>
  <Application>Microsoft Office PowerPoint</Application>
  <PresentationFormat>Widescreen</PresentationFormat>
  <Paragraphs>175</Paragraphs>
  <Slides>25</Slides>
  <Notes>22</Notes>
  <HiddenSlides>0</HiddenSlides>
  <MMClips>0</MMClips>
  <ScaleCrop>false</ScaleCrop>
  <HeadingPairs>
    <vt:vector size="10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  <vt:variant>
        <vt:lpstr>Custom Shows</vt:lpstr>
      </vt:variant>
      <vt:variant>
        <vt:i4>4</vt:i4>
      </vt:variant>
    </vt:vector>
  </HeadingPairs>
  <TitlesOfParts>
    <vt:vector size="38" baseType="lpstr">
      <vt:lpstr>Arial</vt:lpstr>
      <vt:lpstr>Arial,Sans-Serif</vt:lpstr>
      <vt:lpstr>Calibri</vt:lpstr>
      <vt:lpstr>Calibri Light</vt:lpstr>
      <vt:lpstr>Roboto</vt:lpstr>
      <vt:lpstr>Vodafone Rg</vt:lpstr>
      <vt:lpstr>Wingdings</vt:lpstr>
      <vt:lpstr>6_Header</vt:lpstr>
      <vt:lpstr>think-cell Slide</vt:lpstr>
      <vt:lpstr>PowerPoint Presentation</vt:lpstr>
      <vt:lpstr>Agenda</vt:lpstr>
      <vt:lpstr>PowerPoint Presentation</vt:lpstr>
      <vt:lpstr>PowerPoint Presentation</vt:lpstr>
      <vt:lpstr>PowerPoint Presentation</vt:lpstr>
      <vt:lpstr>SkyKick Cloud Backup subscription creation and configuration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mo</vt:lpstr>
      <vt:lpstr>PowerPoint Presentation</vt:lpstr>
      <vt:lpstr>PowerPoint Presentation</vt:lpstr>
      <vt:lpstr>PowerPoint Presentation</vt:lpstr>
      <vt:lpstr>Thank You !</vt:lpstr>
      <vt:lpstr>Traditional Partner</vt:lpstr>
      <vt:lpstr>MP partner - Consumption Based</vt:lpstr>
      <vt:lpstr>MP partner - Prebilled Based</vt:lpstr>
      <vt:lpstr>MP partner - Prebilled and Consumption Bas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rshaa Pallaath</dc:creator>
  <cp:lastModifiedBy>Kris Vandermeulen</cp:lastModifiedBy>
  <cp:revision>5</cp:revision>
  <dcterms:created xsi:type="dcterms:W3CDTF">2023-05-15T08:39:04Z</dcterms:created>
  <dcterms:modified xsi:type="dcterms:W3CDTF">2023-09-06T11:5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_activity">
    <vt:lpwstr>{"FileActivityType":"9","FileActivityTimeStamp":"2023-06-20T06:00:34.643Z","FileActivityUsersOnPage":[{"DisplayName":"Varshaa Pallaath","Id":"varshaa.pallaath@skykick.com"},{"DisplayName":"Harpreet Duggal","Id":"harpreet.duggal@skykick.com"}],"FileActivityNavigationId":null}</vt:lpwstr>
  </property>
  <property fmtid="{D5CDD505-2E9C-101B-9397-08002B2CF9AE}" pid="6" name="TriggerFlowInfo">
    <vt:lpwstr/>
  </property>
  <property fmtid="{D5CDD505-2E9C-101B-9397-08002B2CF9AE}" pid="7" name="ContentTypeId">
    <vt:lpwstr>0x0101002BCCED44CE4E4F4EBE39C51669B4FB02</vt:lpwstr>
  </property>
</Properties>
</file>